
<file path=[Content_Types].xml><?xml version="1.0" encoding="utf-8"?>
<Types xmlns="http://schemas.openxmlformats.org/package/2006/content-types">
  <Default Extension="png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revisionInfo.xml" ContentType="application/vnd.ms-powerpoint.revisioninfo+xml"/>
  <Override PartName="/ppt/changesInfos/changesInfo1.xml" ContentType="application/vnd.ms-powerpoint.changesinfo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0" r:id="rId4"/>
  </p:sldMasterIdLst>
  <p:notesMasterIdLst>
    <p:notesMasterId r:id="rId29"/>
  </p:notesMasterIdLst>
  <p:handoutMasterIdLst>
    <p:handoutMasterId r:id="rId30"/>
  </p:handoutMasterIdLst>
  <p:sldIdLst>
    <p:sldId id="406" r:id="rId5"/>
    <p:sldId id="372" r:id="rId6"/>
    <p:sldId id="375" r:id="rId7"/>
    <p:sldId id="376" r:id="rId8"/>
    <p:sldId id="377" r:id="rId9"/>
    <p:sldId id="378" r:id="rId10"/>
    <p:sldId id="379" r:id="rId11"/>
    <p:sldId id="380" r:id="rId12"/>
    <p:sldId id="381" r:id="rId13"/>
    <p:sldId id="367" r:id="rId14"/>
    <p:sldId id="368" r:id="rId15"/>
    <p:sldId id="382" r:id="rId16"/>
    <p:sldId id="383" r:id="rId17"/>
    <p:sldId id="385" r:id="rId18"/>
    <p:sldId id="386" r:id="rId19"/>
    <p:sldId id="387" r:id="rId20"/>
    <p:sldId id="384" r:id="rId21"/>
    <p:sldId id="388" r:id="rId22"/>
    <p:sldId id="390" r:id="rId23"/>
    <p:sldId id="389" r:id="rId24"/>
    <p:sldId id="392" r:id="rId25"/>
    <p:sldId id="394" r:id="rId26"/>
    <p:sldId id="393" r:id="rId27"/>
    <p:sldId id="396" r:id="rId28"/>
  </p:sldIdLst>
  <p:sldSz cx="9906000" cy="6858000" type="A4"/>
  <p:notesSz cx="6797675" cy="9926638"/>
  <p:defaultTextStyle>
    <a:defPPr>
      <a:defRPr lang="es-ES_tradnl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12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7" userDrawn="1">
          <p15:clr>
            <a:srgbClr val="A4A3A4"/>
          </p15:clr>
        </p15:guide>
        <p15:guide id="2" pos="2141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FA8DC"/>
    <a:srgbClr val="42201E"/>
    <a:srgbClr val="212B6C"/>
    <a:srgbClr val="C0205A"/>
    <a:srgbClr val="B81B4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019AE5B2-11B1-44FF-A86E-27FE21967200}" v="89" dt="2021-05-17T16:28:25.133"/>
    <p1510:client id="{0FDFD2F3-6707-46B1-8650-7761801DB906}" v="17" dt="2021-05-15T10:45:55.668"/>
    <p1510:client id="{10516FB2-B7AC-4DB1-B93E-E4B911D29ED6}" v="9" dt="2021-05-13T15:50:19.650"/>
    <p1510:client id="{112BF128-646C-42F7-91A3-A91C6C9E5468}" v="2" dt="2021-05-12T15:45:33.277"/>
    <p1510:client id="{12935371-A3E5-4816-92A0-FB1D9BC12B35}" v="248" dt="2021-05-13T16:40:20.500"/>
    <p1510:client id="{20D0E2EB-30C3-490B-B5FA-04C17109D892}" v="12" dt="2021-05-12T12:54:24.719"/>
    <p1510:client id="{2412698C-A808-433B-BD93-EFE64A31BEAD}" v="272" dt="2021-05-13T07:34:28.656"/>
    <p1510:client id="{2BEF4029-BD3C-4B7E-9F87-29507931365A}" v="164" dt="2021-05-17T12:16:29.779"/>
    <p1510:client id="{2EA3BC9B-4E04-4CCF-AEFB-F10DA6F46CD2}" v="114" dt="2021-05-13T06:04:52.276"/>
    <p1510:client id="{33046278-9574-4EB5-BCD1-4E8BA20214C2}" v="525" dt="2021-05-14T10:15:00.380"/>
    <p1510:client id="{341294C8-0F0E-4B87-9AC5-2D6EDC764241}" v="35" dt="2021-05-17T08:44:01.584"/>
    <p1510:client id="{489AE403-9414-46D4-BD63-D69DCFCB563B}" v="383" dt="2021-05-13T15:41:07.053"/>
    <p1510:client id="{4ADF184C-3D83-4A1F-806F-E107DEC07B06}" v="18" dt="2021-05-14T08:26:17.274"/>
    <p1510:client id="{4CD73648-6E0E-4843-A43B-CBCF210B86D1}" v="11" dt="2021-05-15T10:42:54.438"/>
    <p1510:client id="{601DE793-236D-466A-9D2C-D180A91F06EE}" v="439" dt="2021-05-14T13:58:35.640"/>
    <p1510:client id="{648E67FA-F71D-4DE9-8649-FE6BBC3326B0}" v="1230" dt="2021-05-17T08:22:10"/>
    <p1510:client id="{696C1717-E30A-4CC7-95A9-85925EEF8560}" v="49" dt="2021-05-14T09:12:55.951"/>
    <p1510:client id="{6B38C79F-106A-B000-D6A6-21BBE55D7CE8}" v="140" dt="2021-05-12T16:13:55.960"/>
    <p1510:client id="{6FE677FF-2337-4E1D-854F-DFC46B5D1EC2}" v="12" dt="2021-05-17T12:17:29.165"/>
    <p1510:client id="{70B1A9C1-F043-4355-9094-C7B378D0B8B4}" v="332" dt="2021-05-17T16:54:21.419"/>
    <p1510:client id="{730AD442-8932-4F8C-B5C7-249AF8E2C17B}" v="319" dt="2021-05-12T15:59:40.329"/>
    <p1510:client id="{7ADB1301-3EAF-4720-8C98-91F61F708FD0}" v="37" dt="2021-05-12T16:25:04.323"/>
    <p1510:client id="{807595A3-0205-4261-BF1F-93F8F85D8E79}" v="10" dt="2021-05-17T12:00:37.967"/>
    <p1510:client id="{811A017D-8AA4-4348-9801-B87D8B195B19}" v="204" dt="2021-05-15T22:44:01.323"/>
    <p1510:client id="{833029F3-0801-4C6A-BE43-279D7ADACFDE}" v="230" dt="2021-05-17T16:25:43.187"/>
    <p1510:client id="{87A1B968-E345-420A-B382-9B85E388066D}" v="2" dt="2021-03-16T11:36:47.684"/>
    <p1510:client id="{8B597AEC-C697-4DCC-8F52-7415D166C362}" v="154" dt="2021-05-17T17:49:20.941"/>
    <p1510:client id="{8D1C3E52-15B3-4076-B9AE-CBAE6F6EC21B}" v="286" dt="2021-05-17T12:29:35.419"/>
    <p1510:client id="{B384E467-5359-49B7-93C9-A8CA4C83357C}" v="10" dt="2021-05-17T13:10:01.466"/>
    <p1510:client id="{B3B2384F-9EC7-4318-8129-951CC34FEB9F}" v="10" dt="2021-05-17T08:42:32.284"/>
    <p1510:client id="{BC5304F7-AD60-4B18-88A2-377181395BDB}" v="383" dt="2021-05-12T16:23:07.950"/>
    <p1510:client id="{C1052126-1E05-43CE-918E-678A0303DE6B}" v="11" dt="2021-05-17T15:10:18.604"/>
    <p1510:client id="{C1A9E4CE-A7FC-49CC-912F-CEA77FD5F87C}" v="1" dt="2021-05-17T08:34:48.308"/>
    <p1510:client id="{C272D056-9159-418D-99BD-0FE5B5F212BF}" v="70" dt="2021-05-17T11:59:02.756"/>
    <p1510:client id="{C57481C9-8BE7-4C89-AC92-293AEC599613}" v="88" dt="2021-05-17T06:13:25.733"/>
    <p1510:client id="{C7967867-0343-46FE-89F5-5720DF3B0EF8}" v="562" dt="2021-05-14T11:31:45.426"/>
    <p1510:client id="{CECEB49F-C07A-B000-C7F8-BD2A5F689217}" v="2" dt="2021-03-16T11:16:41.936"/>
    <p1510:client id="{D1887065-6E01-4D69-987B-8F41842BB0C3}" v="87" dt="2021-05-13T07:20:35.643"/>
    <p1510:client id="{D433689B-315F-4271-B710-9127955F3455}" v="106" dt="2021-05-12T13:05:16.289"/>
    <p1510:client id="{DA99204F-F7D3-49AE-A531-F390C6D97C2B}" v="1" dt="2021-05-17T08:33:58.022"/>
  </p1510:revLst>
</p1510:revInfo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Sin estilo ni cuadrícula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69C7853C-536D-4A76-A0AE-DD22124D55A5}" styleName="Estilo temático 1 - Énfasis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5C22544A-7EE6-4342-B048-85BDC9FD1C3A}" styleName="Estilo medio 2 - Énfasis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120" d="100"/>
          <a:sy n="120" d="100"/>
        </p:scale>
        <p:origin x="1056" y="96"/>
      </p:cViewPr>
      <p:guideLst>
        <p:guide orient="horz" pos="2160"/>
        <p:guide pos="312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>
        <p:guide orient="horz" pos="3127"/>
        <p:guide pos="2141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34" Type="http://schemas.openxmlformats.org/officeDocument/2006/relationships/tableStyles" Target="tableStyles.xml"/><Relationship Id="rId159" Type="http://schemas.microsoft.com/office/2015/10/relationships/revisionInfo" Target="revisionInfo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theme" Target="theme/theme1.xml"/><Relationship Id="rId158" Type="http://schemas.microsoft.com/office/2016/11/relationships/changesInfo" Target="changesInfos/changesInfo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notesMaster" Target="notesMasters/notesMaster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viewProps" Target="viewProp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handoutMaster" Target="handoutMasters/handoutMaster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Serrano Balazote.Pablo" userId="S::pserranob@salud.madrid.org::f19bdf34-62ef-43e8-af0d-ec8e2d825cc6" providerId="AD" clId="Web-{C1052126-1E05-43CE-918E-678A0303DE6B}"/>
    <pc:docChg chg="addSld delSld modSld">
      <pc:chgData name="Serrano Balazote.Pablo" userId="S::pserranob@salud.madrid.org::f19bdf34-62ef-43e8-af0d-ec8e2d825cc6" providerId="AD" clId="Web-{C1052126-1E05-43CE-918E-678A0303DE6B}" dt="2021-05-17T15:10:18.604" v="2"/>
      <pc:docMkLst>
        <pc:docMk/>
      </pc:docMkLst>
      <pc:sldChg chg="delSp">
        <pc:chgData name="Serrano Balazote.Pablo" userId="S::pserranob@salud.madrid.org::f19bdf34-62ef-43e8-af0d-ec8e2d825cc6" providerId="AD" clId="Web-{C1052126-1E05-43CE-918E-678A0303DE6B}" dt="2021-05-17T15:10:18.604" v="2"/>
        <pc:sldMkLst>
          <pc:docMk/>
          <pc:sldMk cId="3954433576" sldId="412"/>
        </pc:sldMkLst>
        <pc:picChg chg="del">
          <ac:chgData name="Serrano Balazote.Pablo" userId="S::pserranob@salud.madrid.org::f19bdf34-62ef-43e8-af0d-ec8e2d825cc6" providerId="AD" clId="Web-{C1052126-1E05-43CE-918E-678A0303DE6B}" dt="2021-05-17T15:10:18.604" v="2"/>
          <ac:picMkLst>
            <pc:docMk/>
            <pc:sldMk cId="3954433576" sldId="412"/>
            <ac:picMk id="11" creationId="{00000000-0000-0000-0000-000000000000}"/>
          </ac:picMkLst>
        </pc:picChg>
      </pc:sldChg>
      <pc:sldChg chg="add del">
        <pc:chgData name="Serrano Balazote.Pablo" userId="S::pserranob@salud.madrid.org::f19bdf34-62ef-43e8-af0d-ec8e2d825cc6" providerId="AD" clId="Web-{C1052126-1E05-43CE-918E-678A0303DE6B}" dt="2021-05-17T15:10:08.697" v="1"/>
        <pc:sldMkLst>
          <pc:docMk/>
          <pc:sldMk cId="2446217213" sldId="497"/>
        </pc:sldMkLst>
      </pc:sldChg>
    </pc:docChg>
  </pc:docChgLst>
  <pc:docChgLst>
    <pc:chgData name="Goni Olagua.Maria Andion" userId="S::andion.goni@salud.madrid.org::71f46b7c-4297-4e81-b482-7eb74ab1b8ea" providerId="AD" clId="Web-{730AD442-8932-4F8C-B5C7-249AF8E2C17B}"/>
    <pc:docChg chg="addSld modSld">
      <pc:chgData name="Goni Olagua.Maria Andion" userId="S::andion.goni@salud.madrid.org::71f46b7c-4297-4e81-b482-7eb74ab1b8ea" providerId="AD" clId="Web-{730AD442-8932-4F8C-B5C7-249AF8E2C17B}" dt="2021-05-12T15:59:40.329" v="173"/>
      <pc:docMkLst>
        <pc:docMk/>
      </pc:docMkLst>
      <pc:sldChg chg="modSp">
        <pc:chgData name="Goni Olagua.Maria Andion" userId="S::andion.goni@salud.madrid.org::71f46b7c-4297-4e81-b482-7eb74ab1b8ea" providerId="AD" clId="Web-{730AD442-8932-4F8C-B5C7-249AF8E2C17B}" dt="2021-05-12T15:57:36.905" v="96" actId="1076"/>
        <pc:sldMkLst>
          <pc:docMk/>
          <pc:sldMk cId="4044077188" sldId="343"/>
        </pc:sldMkLst>
        <pc:spChg chg="mod">
          <ac:chgData name="Goni Olagua.Maria Andion" userId="S::andion.goni@salud.madrid.org::71f46b7c-4297-4e81-b482-7eb74ab1b8ea" providerId="AD" clId="Web-{730AD442-8932-4F8C-B5C7-249AF8E2C17B}" dt="2021-05-12T15:57:36.905" v="96" actId="1076"/>
          <ac:spMkLst>
            <pc:docMk/>
            <pc:sldMk cId="4044077188" sldId="343"/>
            <ac:spMk id="8" creationId="{00000000-0000-0000-0000-000000000000}"/>
          </ac:spMkLst>
        </pc:spChg>
      </pc:sldChg>
      <pc:sldChg chg="delSp modSp add replId">
        <pc:chgData name="Goni Olagua.Maria Andion" userId="S::andion.goni@salud.madrid.org::71f46b7c-4297-4e81-b482-7eb74ab1b8ea" providerId="AD" clId="Web-{730AD442-8932-4F8C-B5C7-249AF8E2C17B}" dt="2021-05-12T15:59:40.329" v="173"/>
        <pc:sldMkLst>
          <pc:docMk/>
          <pc:sldMk cId="3148529584" sldId="491"/>
        </pc:sldMkLst>
        <pc:spChg chg="mod">
          <ac:chgData name="Goni Olagua.Maria Andion" userId="S::andion.goni@salud.madrid.org::71f46b7c-4297-4e81-b482-7eb74ab1b8ea" providerId="AD" clId="Web-{730AD442-8932-4F8C-B5C7-249AF8E2C17B}" dt="2021-05-12T15:59:30.095" v="167" actId="20577"/>
          <ac:spMkLst>
            <pc:docMk/>
            <pc:sldMk cId="3148529584" sldId="491"/>
            <ac:spMk id="9" creationId="{00000000-0000-0000-0000-000000000000}"/>
          </ac:spMkLst>
        </pc:spChg>
        <pc:picChg chg="del">
          <ac:chgData name="Goni Olagua.Maria Andion" userId="S::andion.goni@salud.madrid.org::71f46b7c-4297-4e81-b482-7eb74ab1b8ea" providerId="AD" clId="Web-{730AD442-8932-4F8C-B5C7-249AF8E2C17B}" dt="2021-05-12T15:59:34.892" v="168"/>
          <ac:picMkLst>
            <pc:docMk/>
            <pc:sldMk cId="3148529584" sldId="491"/>
            <ac:picMk id="10" creationId="{00000000-0000-0000-0000-000000000000}"/>
          </ac:picMkLst>
        </pc:picChg>
        <pc:picChg chg="del">
          <ac:chgData name="Goni Olagua.Maria Andion" userId="S::andion.goni@salud.madrid.org::71f46b7c-4297-4e81-b482-7eb74ab1b8ea" providerId="AD" clId="Web-{730AD442-8932-4F8C-B5C7-249AF8E2C17B}" dt="2021-05-12T15:59:36.907" v="170"/>
          <ac:picMkLst>
            <pc:docMk/>
            <pc:sldMk cId="3148529584" sldId="491"/>
            <ac:picMk id="11" creationId="{00000000-0000-0000-0000-000000000000}"/>
          </ac:picMkLst>
        </pc:picChg>
        <pc:picChg chg="del">
          <ac:chgData name="Goni Olagua.Maria Andion" userId="S::andion.goni@salud.madrid.org::71f46b7c-4297-4e81-b482-7eb74ab1b8ea" providerId="AD" clId="Web-{730AD442-8932-4F8C-B5C7-249AF8E2C17B}" dt="2021-05-12T15:59:36.001" v="169"/>
          <ac:picMkLst>
            <pc:docMk/>
            <pc:sldMk cId="3148529584" sldId="491"/>
            <ac:picMk id="14" creationId="{00000000-0000-0000-0000-000000000000}"/>
          </ac:picMkLst>
        </pc:picChg>
        <pc:picChg chg="del">
          <ac:chgData name="Goni Olagua.Maria Andion" userId="S::andion.goni@salud.madrid.org::71f46b7c-4297-4e81-b482-7eb74ab1b8ea" providerId="AD" clId="Web-{730AD442-8932-4F8C-B5C7-249AF8E2C17B}" dt="2021-05-12T15:59:40.329" v="173"/>
          <ac:picMkLst>
            <pc:docMk/>
            <pc:sldMk cId="3148529584" sldId="491"/>
            <ac:picMk id="16" creationId="{00000000-0000-0000-0000-000000000000}"/>
          </ac:picMkLst>
        </pc:picChg>
        <pc:picChg chg="del">
          <ac:chgData name="Goni Olagua.Maria Andion" userId="S::andion.goni@salud.madrid.org::71f46b7c-4297-4e81-b482-7eb74ab1b8ea" providerId="AD" clId="Web-{730AD442-8932-4F8C-B5C7-249AF8E2C17B}" dt="2021-05-12T15:59:37.892" v="171"/>
          <ac:picMkLst>
            <pc:docMk/>
            <pc:sldMk cId="3148529584" sldId="491"/>
            <ac:picMk id="19" creationId="{00000000-0000-0000-0000-000000000000}"/>
          </ac:picMkLst>
        </pc:picChg>
        <pc:picChg chg="del">
          <ac:chgData name="Goni Olagua.Maria Andion" userId="S::andion.goni@salud.madrid.org::71f46b7c-4297-4e81-b482-7eb74ab1b8ea" providerId="AD" clId="Web-{730AD442-8932-4F8C-B5C7-249AF8E2C17B}" dt="2021-05-12T15:59:38.970" v="172"/>
          <ac:picMkLst>
            <pc:docMk/>
            <pc:sldMk cId="3148529584" sldId="491"/>
            <ac:picMk id="20" creationId="{00000000-0000-0000-0000-000000000000}"/>
          </ac:picMkLst>
        </pc:picChg>
      </pc:sldChg>
      <pc:sldChg chg="add replId">
        <pc:chgData name="Goni Olagua.Maria Andion" userId="S::andion.goni@salud.madrid.org::71f46b7c-4297-4e81-b482-7eb74ab1b8ea" providerId="AD" clId="Web-{730AD442-8932-4F8C-B5C7-249AF8E2C17B}" dt="2021-05-12T15:58:46.141" v="98"/>
        <pc:sldMkLst>
          <pc:docMk/>
          <pc:sldMk cId="3379001149" sldId="492"/>
        </pc:sldMkLst>
      </pc:sldChg>
    </pc:docChg>
  </pc:docChgLst>
  <pc:docChgLst>
    <pc:chgData name="Rivas Clemente.Francisco" userId="S::francisco.rivas@salud.madrid.org::53008126-3cca-415d-b53a-872ecfd55398" providerId="AD" clId="Web-{2412698C-A808-433B-BD93-EFE64A31BEAD}"/>
    <pc:docChg chg="modSld">
      <pc:chgData name="Rivas Clemente.Francisco" userId="S::francisco.rivas@salud.madrid.org::53008126-3cca-415d-b53a-872ecfd55398" providerId="AD" clId="Web-{2412698C-A808-433B-BD93-EFE64A31BEAD}" dt="2021-05-13T07:34:28.656" v="136" actId="14100"/>
      <pc:docMkLst>
        <pc:docMk/>
      </pc:docMkLst>
      <pc:sldChg chg="addSp modSp">
        <pc:chgData name="Rivas Clemente.Francisco" userId="S::francisco.rivas@salud.madrid.org::53008126-3cca-415d-b53a-872ecfd55398" providerId="AD" clId="Web-{2412698C-A808-433B-BD93-EFE64A31BEAD}" dt="2021-05-13T07:34:28.656" v="136" actId="14100"/>
        <pc:sldMkLst>
          <pc:docMk/>
          <pc:sldMk cId="1410123347" sldId="492"/>
        </pc:sldMkLst>
        <pc:spChg chg="add mod">
          <ac:chgData name="Rivas Clemente.Francisco" userId="S::francisco.rivas@salud.madrid.org::53008126-3cca-415d-b53a-872ecfd55398" providerId="AD" clId="Web-{2412698C-A808-433B-BD93-EFE64A31BEAD}" dt="2021-05-13T07:34:28.656" v="136" actId="14100"/>
          <ac:spMkLst>
            <pc:docMk/>
            <pc:sldMk cId="1410123347" sldId="492"/>
            <ac:spMk id="3" creationId="{D54C683A-76B8-4B1D-A3A7-2E0B7B1BC1F1}"/>
          </ac:spMkLst>
        </pc:spChg>
        <pc:spChg chg="mod">
          <ac:chgData name="Rivas Clemente.Francisco" userId="S::francisco.rivas@salud.madrid.org::53008126-3cca-415d-b53a-872ecfd55398" providerId="AD" clId="Web-{2412698C-A808-433B-BD93-EFE64A31BEAD}" dt="2021-05-13T07:32:52.591" v="45" actId="20577"/>
          <ac:spMkLst>
            <pc:docMk/>
            <pc:sldMk cId="1410123347" sldId="492"/>
            <ac:spMk id="18" creationId="{00000000-0000-0000-0000-000000000000}"/>
          </ac:spMkLst>
        </pc:spChg>
      </pc:sldChg>
    </pc:docChg>
  </pc:docChgLst>
  <pc:docChgLst>
    <pc:chgData name="Arenas Barbero.Joaquin" userId="S::joaquin.arenas@salud.madrid.org::f7272169-e938-4ea5-bd14-54c479629e66" providerId="AD" clId="Web-{D433689B-315F-4271-B710-9127955F3455}"/>
    <pc:docChg chg="addSld modSld">
      <pc:chgData name="Arenas Barbero.Joaquin" userId="S::joaquin.arenas@salud.madrid.org::f7272169-e938-4ea5-bd14-54c479629e66" providerId="AD" clId="Web-{D433689B-315F-4271-B710-9127955F3455}" dt="2021-05-12T13:05:16.289" v="85" actId="1076"/>
      <pc:docMkLst>
        <pc:docMk/>
      </pc:docMkLst>
      <pc:sldChg chg="addSp modSp">
        <pc:chgData name="Arenas Barbero.Joaquin" userId="S::joaquin.arenas@salud.madrid.org::f7272169-e938-4ea5-bd14-54c479629e66" providerId="AD" clId="Web-{D433689B-315F-4271-B710-9127955F3455}" dt="2021-05-12T13:04:58.179" v="84" actId="1076"/>
        <pc:sldMkLst>
          <pc:docMk/>
          <pc:sldMk cId="2316823527" sldId="464"/>
        </pc:sldMkLst>
        <pc:spChg chg="add mod">
          <ac:chgData name="Arenas Barbero.Joaquin" userId="S::joaquin.arenas@salud.madrid.org::f7272169-e938-4ea5-bd14-54c479629e66" providerId="AD" clId="Web-{D433689B-315F-4271-B710-9127955F3455}" dt="2021-05-12T13:04:58.179" v="84" actId="1076"/>
          <ac:spMkLst>
            <pc:docMk/>
            <pc:sldMk cId="2316823527" sldId="464"/>
            <ac:spMk id="4" creationId="{AFAA23F6-48C5-4D87-A10E-D5D9BDD61C21}"/>
          </ac:spMkLst>
        </pc:spChg>
        <pc:spChg chg="mod">
          <ac:chgData name="Arenas Barbero.Joaquin" userId="S::joaquin.arenas@salud.madrid.org::f7272169-e938-4ea5-bd14-54c479629e66" providerId="AD" clId="Web-{D433689B-315F-4271-B710-9127955F3455}" dt="2021-05-12T12:58:21.449" v="22" actId="1076"/>
          <ac:spMkLst>
            <pc:docMk/>
            <pc:sldMk cId="2316823527" sldId="464"/>
            <ac:spMk id="21" creationId="{00000000-0000-0000-0000-000000000000}"/>
          </ac:spMkLst>
        </pc:spChg>
        <pc:spChg chg="mod">
          <ac:chgData name="Arenas Barbero.Joaquin" userId="S::joaquin.arenas@salud.madrid.org::f7272169-e938-4ea5-bd14-54c479629e66" providerId="AD" clId="Web-{D433689B-315F-4271-B710-9127955F3455}" dt="2021-05-12T12:58:47.903" v="37" actId="14100"/>
          <ac:spMkLst>
            <pc:docMk/>
            <pc:sldMk cId="2316823527" sldId="464"/>
            <ac:spMk id="22" creationId="{00000000-0000-0000-0000-000000000000}"/>
          </ac:spMkLst>
        </pc:spChg>
        <pc:spChg chg="mod">
          <ac:chgData name="Arenas Barbero.Joaquin" userId="S::joaquin.arenas@salud.madrid.org::f7272169-e938-4ea5-bd14-54c479629e66" providerId="AD" clId="Web-{D433689B-315F-4271-B710-9127955F3455}" dt="2021-05-12T12:58:21.465" v="24" actId="1076"/>
          <ac:spMkLst>
            <pc:docMk/>
            <pc:sldMk cId="2316823527" sldId="464"/>
            <ac:spMk id="23" creationId="{00000000-0000-0000-0000-000000000000}"/>
          </ac:spMkLst>
        </pc:spChg>
        <pc:picChg chg="add mod">
          <ac:chgData name="Arenas Barbero.Joaquin" userId="S::joaquin.arenas@salud.madrid.org::f7272169-e938-4ea5-bd14-54c479629e66" providerId="AD" clId="Web-{D433689B-315F-4271-B710-9127955F3455}" dt="2021-05-12T12:56:27.884" v="3" actId="14100"/>
          <ac:picMkLst>
            <pc:docMk/>
            <pc:sldMk cId="2316823527" sldId="464"/>
            <ac:picMk id="3" creationId="{A91ED779-304B-4E4B-B546-DDFE16243CF9}"/>
          </ac:picMkLst>
        </pc:picChg>
      </pc:sldChg>
      <pc:sldChg chg="modSp">
        <pc:chgData name="Arenas Barbero.Joaquin" userId="S::joaquin.arenas@salud.madrid.org::f7272169-e938-4ea5-bd14-54c479629e66" providerId="AD" clId="Web-{D433689B-315F-4271-B710-9127955F3455}" dt="2021-05-12T13:05:16.289" v="85" actId="1076"/>
        <pc:sldMkLst>
          <pc:docMk/>
          <pc:sldMk cId="3314833504" sldId="479"/>
        </pc:sldMkLst>
        <pc:picChg chg="mod">
          <ac:chgData name="Arenas Barbero.Joaquin" userId="S::joaquin.arenas@salud.madrid.org::f7272169-e938-4ea5-bd14-54c479629e66" providerId="AD" clId="Web-{D433689B-315F-4271-B710-9127955F3455}" dt="2021-05-12T13:05:16.289" v="85" actId="1076"/>
          <ac:picMkLst>
            <pc:docMk/>
            <pc:sldMk cId="3314833504" sldId="479"/>
            <ac:picMk id="4" creationId="{CD768C09-E730-43DA-9945-4EF9CCA63D46}"/>
          </ac:picMkLst>
        </pc:picChg>
      </pc:sldChg>
      <pc:sldChg chg="addSp delSp modSp new">
        <pc:chgData name="Arenas Barbero.Joaquin" userId="S::joaquin.arenas@salud.madrid.org::f7272169-e938-4ea5-bd14-54c479629e66" providerId="AD" clId="Web-{D433689B-315F-4271-B710-9127955F3455}" dt="2021-05-12T13:03:45.505" v="78" actId="1076"/>
        <pc:sldMkLst>
          <pc:docMk/>
          <pc:sldMk cId="2606848914" sldId="490"/>
        </pc:sldMkLst>
        <pc:spChg chg="add">
          <ac:chgData name="Arenas Barbero.Joaquin" userId="S::joaquin.arenas@salud.madrid.org::f7272169-e938-4ea5-bd14-54c479629e66" providerId="AD" clId="Web-{D433689B-315F-4271-B710-9127955F3455}" dt="2021-05-12T13:01:04.891" v="52"/>
          <ac:spMkLst>
            <pc:docMk/>
            <pc:sldMk cId="2606848914" sldId="490"/>
            <ac:spMk id="3" creationId="{F95626A4-C7DF-4DE8-BB2C-851BCE376705}"/>
          </ac:spMkLst>
        </pc:spChg>
        <pc:picChg chg="add del mod">
          <ac:chgData name="Arenas Barbero.Joaquin" userId="S::joaquin.arenas@salud.madrid.org::f7272169-e938-4ea5-bd14-54c479629e66" providerId="AD" clId="Web-{D433689B-315F-4271-B710-9127955F3455}" dt="2021-05-12T13:01:37.127" v="55"/>
          <ac:picMkLst>
            <pc:docMk/>
            <pc:sldMk cId="2606848914" sldId="490"/>
            <ac:picMk id="4" creationId="{12CFE12C-008C-418B-9E14-7F8202E04BF2}"/>
          </ac:picMkLst>
        </pc:picChg>
        <pc:picChg chg="add mod">
          <ac:chgData name="Arenas Barbero.Joaquin" userId="S::joaquin.arenas@salud.madrid.org::f7272169-e938-4ea5-bd14-54c479629e66" providerId="AD" clId="Web-{D433689B-315F-4271-B710-9127955F3455}" dt="2021-05-12T13:01:51.127" v="57" actId="1076"/>
          <ac:picMkLst>
            <pc:docMk/>
            <pc:sldMk cId="2606848914" sldId="490"/>
            <ac:picMk id="5" creationId="{F22A2CE5-5D47-4350-85E8-207AACD7D9F3}"/>
          </ac:picMkLst>
        </pc:picChg>
        <pc:picChg chg="add mod">
          <ac:chgData name="Arenas Barbero.Joaquin" userId="S::joaquin.arenas@salud.madrid.org::f7272169-e938-4ea5-bd14-54c479629e66" providerId="AD" clId="Web-{D433689B-315F-4271-B710-9127955F3455}" dt="2021-05-12T13:03:45.505" v="78" actId="1076"/>
          <ac:picMkLst>
            <pc:docMk/>
            <pc:sldMk cId="2606848914" sldId="490"/>
            <ac:picMk id="6" creationId="{58394DA5-5FEE-40A2-95C1-4B2B9AAD59CF}"/>
          </ac:picMkLst>
        </pc:picChg>
        <pc:picChg chg="add mod">
          <ac:chgData name="Arenas Barbero.Joaquin" userId="S::joaquin.arenas@salud.madrid.org::f7272169-e938-4ea5-bd14-54c479629e66" providerId="AD" clId="Web-{D433689B-315F-4271-B710-9127955F3455}" dt="2021-05-12T13:02:47.503" v="65" actId="1076"/>
          <ac:picMkLst>
            <pc:docMk/>
            <pc:sldMk cId="2606848914" sldId="490"/>
            <ac:picMk id="7" creationId="{831A2490-5F67-4B3D-AE9D-B8F39B7F251E}"/>
          </ac:picMkLst>
        </pc:picChg>
        <pc:picChg chg="add mod">
          <ac:chgData name="Arenas Barbero.Joaquin" userId="S::joaquin.arenas@salud.madrid.org::f7272169-e938-4ea5-bd14-54c479629e66" providerId="AD" clId="Web-{D433689B-315F-4271-B710-9127955F3455}" dt="2021-05-12T13:03:42.927" v="77" actId="1076"/>
          <ac:picMkLst>
            <pc:docMk/>
            <pc:sldMk cId="2606848914" sldId="490"/>
            <ac:picMk id="8" creationId="{B1C76199-0C49-4C60-B89F-F37CE35AA2FC}"/>
          </ac:picMkLst>
        </pc:picChg>
        <pc:picChg chg="add mod">
          <ac:chgData name="Arenas Barbero.Joaquin" userId="S::joaquin.arenas@salud.madrid.org::f7272169-e938-4ea5-bd14-54c479629e66" providerId="AD" clId="Web-{D433689B-315F-4271-B710-9127955F3455}" dt="2021-05-12T13:03:41.161" v="76" actId="1076"/>
          <ac:picMkLst>
            <pc:docMk/>
            <pc:sldMk cId="2606848914" sldId="490"/>
            <ac:picMk id="9" creationId="{4A48BDEF-4A7F-4321-BAF2-6FB907716BE7}"/>
          </ac:picMkLst>
        </pc:picChg>
      </pc:sldChg>
    </pc:docChg>
  </pc:docChgLst>
  <pc:docChgLst>
    <pc:chgData name="Goni Olagua.Maria Andion" userId="S::andion.goni@salud.madrid.org::71f46b7c-4297-4e81-b482-7eb74ab1b8ea" providerId="AD" clId="Web-{BC5304F7-AD60-4B18-88A2-377181395BDB}"/>
    <pc:docChg chg="addSld delSld modSld">
      <pc:chgData name="Goni Olagua.Maria Andion" userId="S::andion.goni@salud.madrid.org::71f46b7c-4297-4e81-b482-7eb74ab1b8ea" providerId="AD" clId="Web-{BC5304F7-AD60-4B18-88A2-377181395BDB}" dt="2021-05-12T16:23:06.465" v="238" actId="20577"/>
      <pc:docMkLst>
        <pc:docMk/>
      </pc:docMkLst>
      <pc:sldChg chg="modSp">
        <pc:chgData name="Goni Olagua.Maria Andion" userId="S::andion.goni@salud.madrid.org::71f46b7c-4297-4e81-b482-7eb74ab1b8ea" providerId="AD" clId="Web-{BC5304F7-AD60-4B18-88A2-377181395BDB}" dt="2021-05-12T16:20:31.649" v="165" actId="20577"/>
        <pc:sldMkLst>
          <pc:docMk/>
          <pc:sldMk cId="3459054274" sldId="349"/>
        </pc:sldMkLst>
        <pc:spChg chg="mod">
          <ac:chgData name="Goni Olagua.Maria Andion" userId="S::andion.goni@salud.madrid.org::71f46b7c-4297-4e81-b482-7eb74ab1b8ea" providerId="AD" clId="Web-{BC5304F7-AD60-4B18-88A2-377181395BDB}" dt="2021-05-12T16:20:31.649" v="165" actId="20577"/>
          <ac:spMkLst>
            <pc:docMk/>
            <pc:sldMk cId="3459054274" sldId="349"/>
            <ac:spMk id="8" creationId="{00000000-0000-0000-0000-000000000000}"/>
          </ac:spMkLst>
        </pc:spChg>
      </pc:sldChg>
      <pc:sldChg chg="delSp modSp">
        <pc:chgData name="Goni Olagua.Maria Andion" userId="S::andion.goni@salud.madrid.org::71f46b7c-4297-4e81-b482-7eb74ab1b8ea" providerId="AD" clId="Web-{BC5304F7-AD60-4B18-88A2-377181395BDB}" dt="2021-05-12T16:23:06.465" v="238" actId="20577"/>
        <pc:sldMkLst>
          <pc:docMk/>
          <pc:sldMk cId="2884306507" sldId="437"/>
        </pc:sldMkLst>
        <pc:spChg chg="del">
          <ac:chgData name="Goni Olagua.Maria Andion" userId="S::andion.goni@salud.madrid.org::71f46b7c-4297-4e81-b482-7eb74ab1b8ea" providerId="AD" clId="Web-{BC5304F7-AD60-4B18-88A2-377181395BDB}" dt="2021-05-12T16:22:19.964" v="220"/>
          <ac:spMkLst>
            <pc:docMk/>
            <pc:sldMk cId="2884306507" sldId="437"/>
            <ac:spMk id="5" creationId="{00000000-0000-0000-0000-000000000000}"/>
          </ac:spMkLst>
        </pc:spChg>
        <pc:spChg chg="del">
          <ac:chgData name="Goni Olagua.Maria Andion" userId="S::andion.goni@salud.madrid.org::71f46b7c-4297-4e81-b482-7eb74ab1b8ea" providerId="AD" clId="Web-{BC5304F7-AD60-4B18-88A2-377181395BDB}" dt="2021-05-12T16:22:10.323" v="212"/>
          <ac:spMkLst>
            <pc:docMk/>
            <pc:sldMk cId="2884306507" sldId="437"/>
            <ac:spMk id="6" creationId="{00000000-0000-0000-0000-000000000000}"/>
          </ac:spMkLst>
        </pc:spChg>
        <pc:spChg chg="del">
          <ac:chgData name="Goni Olagua.Maria Andion" userId="S::andion.goni@salud.madrid.org::71f46b7c-4297-4e81-b482-7eb74ab1b8ea" providerId="AD" clId="Web-{BC5304F7-AD60-4B18-88A2-377181395BDB}" dt="2021-05-12T16:22:33.261" v="229"/>
          <ac:spMkLst>
            <pc:docMk/>
            <pc:sldMk cId="2884306507" sldId="437"/>
            <ac:spMk id="13" creationId="{00000000-0000-0000-0000-000000000000}"/>
          </ac:spMkLst>
        </pc:spChg>
        <pc:spChg chg="del mod">
          <ac:chgData name="Goni Olagua.Maria Andion" userId="S::andion.goni@salud.madrid.org::71f46b7c-4297-4e81-b482-7eb74ab1b8ea" providerId="AD" clId="Web-{BC5304F7-AD60-4B18-88A2-377181395BDB}" dt="2021-05-12T16:22:29.605" v="227"/>
          <ac:spMkLst>
            <pc:docMk/>
            <pc:sldMk cId="2884306507" sldId="437"/>
            <ac:spMk id="14" creationId="{00000000-0000-0000-0000-000000000000}"/>
          </ac:spMkLst>
        </pc:spChg>
        <pc:spChg chg="del">
          <ac:chgData name="Goni Olagua.Maria Andion" userId="S::andion.goni@salud.madrid.org::71f46b7c-4297-4e81-b482-7eb74ab1b8ea" providerId="AD" clId="Web-{BC5304F7-AD60-4B18-88A2-377181395BDB}" dt="2021-05-12T16:22:38.090" v="232"/>
          <ac:spMkLst>
            <pc:docMk/>
            <pc:sldMk cId="2884306507" sldId="437"/>
            <ac:spMk id="15" creationId="{00000000-0000-0000-0000-000000000000}"/>
          </ac:spMkLst>
        </pc:spChg>
        <pc:spChg chg="del">
          <ac:chgData name="Goni Olagua.Maria Andion" userId="S::andion.goni@salud.madrid.org::71f46b7c-4297-4e81-b482-7eb74ab1b8ea" providerId="AD" clId="Web-{BC5304F7-AD60-4B18-88A2-377181395BDB}" dt="2021-05-12T16:22:23.464" v="222"/>
          <ac:spMkLst>
            <pc:docMk/>
            <pc:sldMk cId="2884306507" sldId="437"/>
            <ac:spMk id="18" creationId="{00000000-0000-0000-0000-000000000000}"/>
          </ac:spMkLst>
        </pc:spChg>
        <pc:spChg chg="mod">
          <ac:chgData name="Goni Olagua.Maria Andion" userId="S::andion.goni@salud.madrid.org::71f46b7c-4297-4e81-b482-7eb74ab1b8ea" providerId="AD" clId="Web-{BC5304F7-AD60-4B18-88A2-377181395BDB}" dt="2021-05-12T16:23:06.465" v="238" actId="20577"/>
          <ac:spMkLst>
            <pc:docMk/>
            <pc:sldMk cId="2884306507" sldId="437"/>
            <ac:spMk id="24" creationId="{00000000-0000-0000-0000-000000000000}"/>
          </ac:spMkLst>
        </pc:spChg>
        <pc:spChg chg="del">
          <ac:chgData name="Goni Olagua.Maria Andion" userId="S::andion.goni@salud.madrid.org::71f46b7c-4297-4e81-b482-7eb74ab1b8ea" providerId="AD" clId="Web-{BC5304F7-AD60-4B18-88A2-377181395BDB}" dt="2021-05-12T16:22:06.980" v="210"/>
          <ac:spMkLst>
            <pc:docMk/>
            <pc:sldMk cId="2884306507" sldId="437"/>
            <ac:spMk id="28" creationId="{00000000-0000-0000-0000-000000000000}"/>
          </ac:spMkLst>
        </pc:spChg>
        <pc:spChg chg="del">
          <ac:chgData name="Goni Olagua.Maria Andion" userId="S::andion.goni@salud.madrid.org::71f46b7c-4297-4e81-b482-7eb74ab1b8ea" providerId="AD" clId="Web-{BC5304F7-AD60-4B18-88A2-377181395BDB}" dt="2021-05-12T16:22:12.714" v="214"/>
          <ac:spMkLst>
            <pc:docMk/>
            <pc:sldMk cId="2884306507" sldId="437"/>
            <ac:spMk id="29" creationId="{00000000-0000-0000-0000-000000000000}"/>
          </ac:spMkLst>
        </pc:spChg>
        <pc:spChg chg="del">
          <ac:chgData name="Goni Olagua.Maria Andion" userId="S::andion.goni@salud.madrid.org::71f46b7c-4297-4e81-b482-7eb74ab1b8ea" providerId="AD" clId="Web-{BC5304F7-AD60-4B18-88A2-377181395BDB}" dt="2021-05-12T16:22:11.277" v="213"/>
          <ac:spMkLst>
            <pc:docMk/>
            <pc:sldMk cId="2884306507" sldId="437"/>
            <ac:spMk id="31" creationId="{00000000-0000-0000-0000-000000000000}"/>
          </ac:spMkLst>
        </pc:spChg>
        <pc:spChg chg="del">
          <ac:chgData name="Goni Olagua.Maria Andion" userId="S::andion.goni@salud.madrid.org::71f46b7c-4297-4e81-b482-7eb74ab1b8ea" providerId="AD" clId="Web-{BC5304F7-AD60-4B18-88A2-377181395BDB}" dt="2021-05-12T16:22:15.589" v="217"/>
          <ac:spMkLst>
            <pc:docMk/>
            <pc:sldMk cId="2884306507" sldId="437"/>
            <ac:spMk id="32" creationId="{00000000-0000-0000-0000-000000000000}"/>
          </ac:spMkLst>
        </pc:spChg>
        <pc:spChg chg="del">
          <ac:chgData name="Goni Olagua.Maria Andion" userId="S::andion.goni@salud.madrid.org::71f46b7c-4297-4e81-b482-7eb74ab1b8ea" providerId="AD" clId="Web-{BC5304F7-AD60-4B18-88A2-377181395BDB}" dt="2021-05-12T16:22:14.511" v="216"/>
          <ac:spMkLst>
            <pc:docMk/>
            <pc:sldMk cId="2884306507" sldId="437"/>
            <ac:spMk id="34" creationId="{00000000-0000-0000-0000-000000000000}"/>
          </ac:spMkLst>
        </pc:spChg>
        <pc:spChg chg="del">
          <ac:chgData name="Goni Olagua.Maria Andion" userId="S::andion.goni@salud.madrid.org::71f46b7c-4297-4e81-b482-7eb74ab1b8ea" providerId="AD" clId="Web-{BC5304F7-AD60-4B18-88A2-377181395BDB}" dt="2021-05-12T16:22:34.840" v="230"/>
          <ac:spMkLst>
            <pc:docMk/>
            <pc:sldMk cId="2884306507" sldId="437"/>
            <ac:spMk id="35" creationId="{00000000-0000-0000-0000-000000000000}"/>
          </ac:spMkLst>
        </pc:spChg>
        <pc:spChg chg="del">
          <ac:chgData name="Goni Olagua.Maria Andion" userId="S::andion.goni@salud.madrid.org::71f46b7c-4297-4e81-b482-7eb74ab1b8ea" providerId="AD" clId="Web-{BC5304F7-AD60-4B18-88A2-377181395BDB}" dt="2021-05-12T16:22:32.199" v="228"/>
          <ac:spMkLst>
            <pc:docMk/>
            <pc:sldMk cId="2884306507" sldId="437"/>
            <ac:spMk id="36" creationId="{00000000-0000-0000-0000-000000000000}"/>
          </ac:spMkLst>
        </pc:spChg>
        <pc:picChg chg="del">
          <ac:chgData name="Goni Olagua.Maria Andion" userId="S::andion.goni@salud.madrid.org::71f46b7c-4297-4e81-b482-7eb74ab1b8ea" providerId="AD" clId="Web-{BC5304F7-AD60-4B18-88A2-377181395BDB}" dt="2021-05-12T16:22:13.527" v="215"/>
          <ac:picMkLst>
            <pc:docMk/>
            <pc:sldMk cId="2884306507" sldId="437"/>
            <ac:picMk id="8" creationId="{00000000-0000-0000-0000-000000000000}"/>
          </ac:picMkLst>
        </pc:picChg>
        <pc:picChg chg="del">
          <ac:chgData name="Goni Olagua.Maria Andion" userId="S::andion.goni@salud.madrid.org::71f46b7c-4297-4e81-b482-7eb74ab1b8ea" providerId="AD" clId="Web-{BC5304F7-AD60-4B18-88A2-377181395BDB}" dt="2021-05-12T16:22:17.792" v="219"/>
          <ac:picMkLst>
            <pc:docMk/>
            <pc:sldMk cId="2884306507" sldId="437"/>
            <ac:picMk id="9" creationId="{00000000-0000-0000-0000-000000000000}"/>
          </ac:picMkLst>
        </pc:picChg>
        <pc:picChg chg="del">
          <ac:chgData name="Goni Olagua.Maria Andion" userId="S::andion.goni@salud.madrid.org::71f46b7c-4297-4e81-b482-7eb74ab1b8ea" providerId="AD" clId="Web-{BC5304F7-AD60-4B18-88A2-377181395BDB}" dt="2021-05-12T16:22:36.043" v="231"/>
          <ac:picMkLst>
            <pc:docMk/>
            <pc:sldMk cId="2884306507" sldId="437"/>
            <ac:picMk id="21" creationId="{00000000-0000-0000-0000-000000000000}"/>
          </ac:picMkLst>
        </pc:picChg>
        <pc:picChg chg="del">
          <ac:chgData name="Goni Olagua.Maria Andion" userId="S::andion.goni@salud.madrid.org::71f46b7c-4297-4e81-b482-7eb74ab1b8ea" providerId="AD" clId="Web-{BC5304F7-AD60-4B18-88A2-377181395BDB}" dt="2021-05-12T16:22:26.996" v="225"/>
          <ac:picMkLst>
            <pc:docMk/>
            <pc:sldMk cId="2884306507" sldId="437"/>
            <ac:picMk id="23" creationId="{00000000-0000-0000-0000-000000000000}"/>
          </ac:picMkLst>
        </pc:picChg>
        <pc:picChg chg="del">
          <ac:chgData name="Goni Olagua.Maria Andion" userId="S::andion.goni@salud.madrid.org::71f46b7c-4297-4e81-b482-7eb74ab1b8ea" providerId="AD" clId="Web-{BC5304F7-AD60-4B18-88A2-377181395BDB}" dt="2021-05-12T16:22:08.355" v="211"/>
          <ac:picMkLst>
            <pc:docMk/>
            <pc:sldMk cId="2884306507" sldId="437"/>
            <ac:picMk id="30" creationId="{00000000-0000-0000-0000-000000000000}"/>
          </ac:picMkLst>
        </pc:picChg>
        <pc:picChg chg="del">
          <ac:chgData name="Goni Olagua.Maria Andion" userId="S::andion.goni@salud.madrid.org::71f46b7c-4297-4e81-b482-7eb74ab1b8ea" providerId="AD" clId="Web-{BC5304F7-AD60-4B18-88A2-377181395BDB}" dt="2021-05-12T16:22:16.636" v="218"/>
          <ac:picMkLst>
            <pc:docMk/>
            <pc:sldMk cId="2884306507" sldId="437"/>
            <ac:picMk id="33" creationId="{00000000-0000-0000-0000-000000000000}"/>
          </ac:picMkLst>
        </pc:picChg>
        <pc:picChg chg="del">
          <ac:chgData name="Goni Olagua.Maria Andion" userId="S::andion.goni@salud.madrid.org::71f46b7c-4297-4e81-b482-7eb74ab1b8ea" providerId="AD" clId="Web-{BC5304F7-AD60-4B18-88A2-377181395BDB}" dt="2021-05-12T16:22:24.964" v="223"/>
          <ac:picMkLst>
            <pc:docMk/>
            <pc:sldMk cId="2884306507" sldId="437"/>
            <ac:picMk id="37" creationId="{00000000-0000-0000-0000-000000000000}"/>
          </ac:picMkLst>
        </pc:picChg>
        <pc:picChg chg="del">
          <ac:chgData name="Goni Olagua.Maria Andion" userId="S::andion.goni@salud.madrid.org::71f46b7c-4297-4e81-b482-7eb74ab1b8ea" providerId="AD" clId="Web-{BC5304F7-AD60-4B18-88A2-377181395BDB}" dt="2021-05-12T16:22:25.777" v="224"/>
          <ac:picMkLst>
            <pc:docMk/>
            <pc:sldMk cId="2884306507" sldId="437"/>
            <ac:picMk id="38" creationId="{00000000-0000-0000-0000-000000000000}"/>
          </ac:picMkLst>
        </pc:picChg>
        <pc:cxnChg chg="del">
          <ac:chgData name="Goni Olagua.Maria Andion" userId="S::andion.goni@salud.madrid.org::71f46b7c-4297-4e81-b482-7eb74ab1b8ea" providerId="AD" clId="Web-{BC5304F7-AD60-4B18-88A2-377181395BDB}" dt="2021-05-12T16:22:21.308" v="221"/>
          <ac:cxnSpMkLst>
            <pc:docMk/>
            <pc:sldMk cId="2884306507" sldId="437"/>
            <ac:cxnSpMk id="4" creationId="{00000000-0000-0000-0000-000000000000}"/>
          </ac:cxnSpMkLst>
        </pc:cxnChg>
      </pc:sldChg>
      <pc:sldChg chg="addSp delSp modSp">
        <pc:chgData name="Goni Olagua.Maria Andion" userId="S::andion.goni@salud.madrid.org::71f46b7c-4297-4e81-b482-7eb74ab1b8ea" providerId="AD" clId="Web-{BC5304F7-AD60-4B18-88A2-377181395BDB}" dt="2021-05-12T16:19:09.913" v="116" actId="1076"/>
        <pc:sldMkLst>
          <pc:docMk/>
          <pc:sldMk cId="3148529584" sldId="491"/>
        </pc:sldMkLst>
        <pc:spChg chg="mod">
          <ac:chgData name="Goni Olagua.Maria Andion" userId="S::andion.goni@salud.madrid.org::71f46b7c-4297-4e81-b482-7eb74ab1b8ea" providerId="AD" clId="Web-{BC5304F7-AD60-4B18-88A2-377181395BDB}" dt="2021-05-12T16:08:34.397" v="42" actId="20577"/>
          <ac:spMkLst>
            <pc:docMk/>
            <pc:sldMk cId="3148529584" sldId="491"/>
            <ac:spMk id="9" creationId="{00000000-0000-0000-0000-000000000000}"/>
          </ac:spMkLst>
        </pc:spChg>
        <pc:picChg chg="add mod">
          <ac:chgData name="Goni Olagua.Maria Andion" userId="S::andion.goni@salud.madrid.org::71f46b7c-4297-4e81-b482-7eb74ab1b8ea" providerId="AD" clId="Web-{BC5304F7-AD60-4B18-88A2-377181395BDB}" dt="2021-05-12T16:08:07.240" v="16" actId="1076"/>
          <ac:picMkLst>
            <pc:docMk/>
            <pc:sldMk cId="3148529584" sldId="491"/>
            <ac:picMk id="3" creationId="{7D992F9E-2EFF-4130-B263-EC589661D272}"/>
          </ac:picMkLst>
        </pc:picChg>
        <pc:picChg chg="add mod">
          <ac:chgData name="Goni Olagua.Maria Andion" userId="S::andion.goni@salud.madrid.org::71f46b7c-4297-4e81-b482-7eb74ab1b8ea" providerId="AD" clId="Web-{BC5304F7-AD60-4B18-88A2-377181395BDB}" dt="2021-05-12T16:19:09.913" v="116" actId="1076"/>
          <ac:picMkLst>
            <pc:docMk/>
            <pc:sldMk cId="3148529584" sldId="491"/>
            <ac:picMk id="4" creationId="{988C2F19-4967-4F20-B467-A522730E82B2}"/>
          </ac:picMkLst>
        </pc:picChg>
        <pc:picChg chg="add del mod">
          <ac:chgData name="Goni Olagua.Maria Andion" userId="S::andion.goni@salud.madrid.org::71f46b7c-4297-4e81-b482-7eb74ab1b8ea" providerId="AD" clId="Web-{BC5304F7-AD60-4B18-88A2-377181395BDB}" dt="2021-05-12T16:17:46.676" v="113"/>
          <ac:picMkLst>
            <pc:docMk/>
            <pc:sldMk cId="3148529584" sldId="491"/>
            <ac:picMk id="5" creationId="{A08C4BB1-E03E-4D8E-8EC7-9C3510548C5A}"/>
          </ac:picMkLst>
        </pc:picChg>
        <pc:picChg chg="add mod">
          <ac:chgData name="Goni Olagua.Maria Andion" userId="S::andion.goni@salud.madrid.org::71f46b7c-4297-4e81-b482-7eb74ab1b8ea" providerId="AD" clId="Web-{BC5304F7-AD60-4B18-88A2-377181395BDB}" dt="2021-05-12T16:17:51.582" v="114" actId="1076"/>
          <ac:picMkLst>
            <pc:docMk/>
            <pc:sldMk cId="3148529584" sldId="491"/>
            <ac:picMk id="6" creationId="{867B4348-7549-445A-AD7C-56C33FD6883D}"/>
          </ac:picMkLst>
        </pc:picChg>
        <pc:picChg chg="del">
          <ac:chgData name="Goni Olagua.Maria Andion" userId="S::andion.goni@salud.madrid.org::71f46b7c-4297-4e81-b482-7eb74ab1b8ea" providerId="AD" clId="Web-{BC5304F7-AD60-4B18-88A2-377181395BDB}" dt="2021-05-12T16:06:12.549" v="2"/>
          <ac:picMkLst>
            <pc:docMk/>
            <pc:sldMk cId="3148529584" sldId="491"/>
            <ac:picMk id="15" creationId="{00000000-0000-0000-0000-000000000000}"/>
          </ac:picMkLst>
        </pc:picChg>
      </pc:sldChg>
      <pc:sldChg chg="add replId">
        <pc:chgData name="Goni Olagua.Maria Andion" userId="S::andion.goni@salud.madrid.org::71f46b7c-4297-4e81-b482-7eb74ab1b8ea" providerId="AD" clId="Web-{BC5304F7-AD60-4B18-88A2-377181395BDB}" dt="2021-05-12T16:21:09.962" v="166"/>
        <pc:sldMkLst>
          <pc:docMk/>
          <pc:sldMk cId="1410123347" sldId="492"/>
        </pc:sldMkLst>
      </pc:sldChg>
      <pc:sldChg chg="delSp modSp del">
        <pc:chgData name="Goni Olagua.Maria Andion" userId="S::andion.goni@salud.madrid.org::71f46b7c-4297-4e81-b482-7eb74ab1b8ea" providerId="AD" clId="Web-{BC5304F7-AD60-4B18-88A2-377181395BDB}" dt="2021-05-12T16:19:00.209" v="115"/>
        <pc:sldMkLst>
          <pc:docMk/>
          <pc:sldMk cId="3379001149" sldId="492"/>
        </pc:sldMkLst>
        <pc:spChg chg="mod">
          <ac:chgData name="Goni Olagua.Maria Andion" userId="S::andion.goni@salud.madrid.org::71f46b7c-4297-4e81-b482-7eb74ab1b8ea" providerId="AD" clId="Web-{BC5304F7-AD60-4B18-88A2-377181395BDB}" dt="2021-05-12T16:11:24.573" v="104" actId="20577"/>
          <ac:spMkLst>
            <pc:docMk/>
            <pc:sldMk cId="3379001149" sldId="492"/>
            <ac:spMk id="9" creationId="{00000000-0000-0000-0000-000000000000}"/>
          </ac:spMkLst>
        </pc:spChg>
        <pc:picChg chg="del">
          <ac:chgData name="Goni Olagua.Maria Andion" userId="S::andion.goni@salud.madrid.org::71f46b7c-4297-4e81-b482-7eb74ab1b8ea" providerId="AD" clId="Web-{BC5304F7-AD60-4B18-88A2-377181395BDB}" dt="2021-05-12T16:11:29.917" v="106"/>
          <ac:picMkLst>
            <pc:docMk/>
            <pc:sldMk cId="3379001149" sldId="492"/>
            <ac:picMk id="10" creationId="{00000000-0000-0000-0000-000000000000}"/>
          </ac:picMkLst>
        </pc:picChg>
        <pc:picChg chg="del">
          <ac:chgData name="Goni Olagua.Maria Andion" userId="S::andion.goni@salud.madrid.org::71f46b7c-4297-4e81-b482-7eb74ab1b8ea" providerId="AD" clId="Web-{BC5304F7-AD60-4B18-88A2-377181395BDB}" dt="2021-05-12T16:11:30.604" v="107"/>
          <ac:picMkLst>
            <pc:docMk/>
            <pc:sldMk cId="3379001149" sldId="492"/>
            <ac:picMk id="11" creationId="{00000000-0000-0000-0000-000000000000}"/>
          </ac:picMkLst>
        </pc:picChg>
        <pc:picChg chg="del">
          <ac:chgData name="Goni Olagua.Maria Andion" userId="S::andion.goni@salud.madrid.org::71f46b7c-4297-4e81-b482-7eb74ab1b8ea" providerId="AD" clId="Web-{BC5304F7-AD60-4B18-88A2-377181395BDB}" dt="2021-05-12T16:11:31.542" v="108"/>
          <ac:picMkLst>
            <pc:docMk/>
            <pc:sldMk cId="3379001149" sldId="492"/>
            <ac:picMk id="14" creationId="{00000000-0000-0000-0000-000000000000}"/>
          </ac:picMkLst>
        </pc:picChg>
        <pc:picChg chg="del">
          <ac:chgData name="Goni Olagua.Maria Andion" userId="S::andion.goni@salud.madrid.org::71f46b7c-4297-4e81-b482-7eb74ab1b8ea" providerId="AD" clId="Web-{BC5304F7-AD60-4B18-88A2-377181395BDB}" dt="2021-05-12T16:11:29.026" v="105"/>
          <ac:picMkLst>
            <pc:docMk/>
            <pc:sldMk cId="3379001149" sldId="492"/>
            <ac:picMk id="15" creationId="{00000000-0000-0000-0000-000000000000}"/>
          </ac:picMkLst>
        </pc:picChg>
        <pc:picChg chg="del">
          <ac:chgData name="Goni Olagua.Maria Andion" userId="S::andion.goni@salud.madrid.org::71f46b7c-4297-4e81-b482-7eb74ab1b8ea" providerId="AD" clId="Web-{BC5304F7-AD60-4B18-88A2-377181395BDB}" dt="2021-05-12T16:11:33.995" v="111"/>
          <ac:picMkLst>
            <pc:docMk/>
            <pc:sldMk cId="3379001149" sldId="492"/>
            <ac:picMk id="16" creationId="{00000000-0000-0000-0000-000000000000}"/>
          </ac:picMkLst>
        </pc:picChg>
        <pc:picChg chg="del">
          <ac:chgData name="Goni Olagua.Maria Andion" userId="S::andion.goni@salud.madrid.org::71f46b7c-4297-4e81-b482-7eb74ab1b8ea" providerId="AD" clId="Web-{BC5304F7-AD60-4B18-88A2-377181395BDB}" dt="2021-05-12T16:11:33.057" v="110"/>
          <ac:picMkLst>
            <pc:docMk/>
            <pc:sldMk cId="3379001149" sldId="492"/>
            <ac:picMk id="19" creationId="{00000000-0000-0000-0000-000000000000}"/>
          </ac:picMkLst>
        </pc:picChg>
        <pc:picChg chg="del">
          <ac:chgData name="Goni Olagua.Maria Andion" userId="S::andion.goni@salud.madrid.org::71f46b7c-4297-4e81-b482-7eb74ab1b8ea" providerId="AD" clId="Web-{BC5304F7-AD60-4B18-88A2-377181395BDB}" dt="2021-05-12T16:11:32.245" v="109"/>
          <ac:picMkLst>
            <pc:docMk/>
            <pc:sldMk cId="3379001149" sldId="492"/>
            <ac:picMk id="20" creationId="{00000000-0000-0000-0000-000000000000}"/>
          </ac:picMkLst>
        </pc:picChg>
      </pc:sldChg>
    </pc:docChg>
  </pc:docChgLst>
  <pc:docChgLst>
    <pc:chgData name="Notario Jimenez.Pilar" userId="S::pilar.notario@salud.madrid.org::42f8e95d-f2f8-41cf-a337-e1818d91ccaf" providerId="AD" clId="Web-{696C1717-E30A-4CC7-95A9-85925EEF8560}"/>
    <pc:docChg chg="modSld">
      <pc:chgData name="Notario Jimenez.Pilar" userId="S::pilar.notario@salud.madrid.org::42f8e95d-f2f8-41cf-a337-e1818d91ccaf" providerId="AD" clId="Web-{696C1717-E30A-4CC7-95A9-85925EEF8560}" dt="2021-05-14T09:12:55.951" v="43" actId="14100"/>
      <pc:docMkLst>
        <pc:docMk/>
      </pc:docMkLst>
      <pc:sldChg chg="addSp modSp">
        <pc:chgData name="Notario Jimenez.Pilar" userId="S::pilar.notario@salud.madrid.org::42f8e95d-f2f8-41cf-a337-e1818d91ccaf" providerId="AD" clId="Web-{696C1717-E30A-4CC7-95A9-85925EEF8560}" dt="2021-05-14T09:12:55.951" v="43" actId="14100"/>
        <pc:sldMkLst>
          <pc:docMk/>
          <pc:sldMk cId="2884306507" sldId="437"/>
        </pc:sldMkLst>
        <pc:spChg chg="add mod">
          <ac:chgData name="Notario Jimenez.Pilar" userId="S::pilar.notario@salud.madrid.org::42f8e95d-f2f8-41cf-a337-e1818d91ccaf" providerId="AD" clId="Web-{696C1717-E30A-4CC7-95A9-85925EEF8560}" dt="2021-05-14T09:08:27.289" v="3" actId="20577"/>
          <ac:spMkLst>
            <pc:docMk/>
            <pc:sldMk cId="2884306507" sldId="437"/>
            <ac:spMk id="3" creationId="{CC1D202B-296F-43E9-A7FF-0A095E78241D}"/>
          </ac:spMkLst>
        </pc:spChg>
        <pc:picChg chg="add mod">
          <ac:chgData name="Notario Jimenez.Pilar" userId="S::pilar.notario@salud.madrid.org::42f8e95d-f2f8-41cf-a337-e1818d91ccaf" providerId="AD" clId="Web-{696C1717-E30A-4CC7-95A9-85925EEF8560}" dt="2021-05-14T09:12:16.607" v="35" actId="1076"/>
          <ac:picMkLst>
            <pc:docMk/>
            <pc:sldMk cId="2884306507" sldId="437"/>
            <ac:picMk id="4" creationId="{729BB9DF-D04F-4CD4-8C51-59D4B7A442D1}"/>
          </ac:picMkLst>
        </pc:picChg>
        <pc:picChg chg="add mod ord">
          <ac:chgData name="Notario Jimenez.Pilar" userId="S::pilar.notario@salud.madrid.org::42f8e95d-f2f8-41cf-a337-e1818d91ccaf" providerId="AD" clId="Web-{696C1717-E30A-4CC7-95A9-85925EEF8560}" dt="2021-05-14T09:12:55.951" v="43" actId="14100"/>
          <ac:picMkLst>
            <pc:docMk/>
            <pc:sldMk cId="2884306507" sldId="437"/>
            <ac:picMk id="5" creationId="{B99C1FB0-DA5F-4FEC-8DC7-ADB22823952A}"/>
          </ac:picMkLst>
        </pc:picChg>
        <pc:picChg chg="add mod">
          <ac:chgData name="Notario Jimenez.Pilar" userId="S::pilar.notario@salud.madrid.org::42f8e95d-f2f8-41cf-a337-e1818d91ccaf" providerId="AD" clId="Web-{696C1717-E30A-4CC7-95A9-85925EEF8560}" dt="2021-05-14T09:12:48.654" v="42" actId="1076"/>
          <ac:picMkLst>
            <pc:docMk/>
            <pc:sldMk cId="2884306507" sldId="437"/>
            <ac:picMk id="6" creationId="{24DB7B2F-D706-4B48-A327-E545C5A5BBD0}"/>
          </ac:picMkLst>
        </pc:picChg>
        <pc:picChg chg="add mod">
          <ac:chgData name="Notario Jimenez.Pilar" userId="S::pilar.notario@salud.madrid.org::42f8e95d-f2f8-41cf-a337-e1818d91ccaf" providerId="AD" clId="Web-{696C1717-E30A-4CC7-95A9-85925EEF8560}" dt="2021-05-14T09:12:45.670" v="41" actId="14100"/>
          <ac:picMkLst>
            <pc:docMk/>
            <pc:sldMk cId="2884306507" sldId="437"/>
            <ac:picMk id="7" creationId="{97FB6931-865C-4A79-95D5-8D3388E51CCC}"/>
          </ac:picMkLst>
        </pc:picChg>
      </pc:sldChg>
    </pc:docChg>
  </pc:docChgLst>
  <pc:docChgLst>
    <pc:chgData name="Villamia Vidal.Gonzalo" userId="S::gonzalo.villamia@salud.madrid.org::85f0c06e-4c76-4629-8366-bac5572b5141" providerId="AD" clId="Web-{4CD73648-6E0E-4843-A43B-CBCF210B86D1}"/>
    <pc:docChg chg="modSld">
      <pc:chgData name="Villamia Vidal.Gonzalo" userId="S::gonzalo.villamia@salud.madrid.org::85f0c06e-4c76-4629-8366-bac5572b5141" providerId="AD" clId="Web-{4CD73648-6E0E-4843-A43B-CBCF210B86D1}" dt="2021-05-15T10:42:53.719" v="9"/>
      <pc:docMkLst>
        <pc:docMk/>
      </pc:docMkLst>
      <pc:sldChg chg="addSp delSp modSp">
        <pc:chgData name="Villamia Vidal.Gonzalo" userId="S::gonzalo.villamia@salud.madrid.org::85f0c06e-4c76-4629-8366-bac5572b5141" providerId="AD" clId="Web-{4CD73648-6E0E-4843-A43B-CBCF210B86D1}" dt="2021-05-15T10:42:53.719" v="9"/>
        <pc:sldMkLst>
          <pc:docMk/>
          <pc:sldMk cId="1634058414" sldId="475"/>
        </pc:sldMkLst>
        <pc:spChg chg="add del mod">
          <ac:chgData name="Villamia Vidal.Gonzalo" userId="S::gonzalo.villamia@salud.madrid.org::85f0c06e-4c76-4629-8366-bac5572b5141" providerId="AD" clId="Web-{4CD73648-6E0E-4843-A43B-CBCF210B86D1}" dt="2021-05-15T10:38:58.513" v="8"/>
          <ac:spMkLst>
            <pc:docMk/>
            <pc:sldMk cId="1634058414" sldId="475"/>
            <ac:spMk id="3" creationId="{591758C0-8F82-46D3-9BA5-DA77FE6E0BCD}"/>
          </ac:spMkLst>
        </pc:spChg>
        <pc:picChg chg="add del mod">
          <ac:chgData name="Villamia Vidal.Gonzalo" userId="S::gonzalo.villamia@salud.madrid.org::85f0c06e-4c76-4629-8366-bac5572b5141" providerId="AD" clId="Web-{4CD73648-6E0E-4843-A43B-CBCF210B86D1}" dt="2021-05-15T10:42:53.719" v="9"/>
          <ac:picMkLst>
            <pc:docMk/>
            <pc:sldMk cId="1634058414" sldId="475"/>
            <ac:picMk id="14" creationId="{00000000-0000-0000-0000-000000000000}"/>
          </ac:picMkLst>
        </pc:picChg>
      </pc:sldChg>
    </pc:docChg>
  </pc:docChgLst>
  <pc:docChgLst>
    <pc:chgData name="Alier Gandaras.Mercedes" userId="S::mercedes.alier@salud.madrid.org::c2613a3b-36ce-461b-9157-28aaf6402d9a" providerId="AD" clId="Web-{601DE793-236D-466A-9D2C-D180A91F06EE}"/>
    <pc:docChg chg="addSld modSld">
      <pc:chgData name="Alier Gandaras.Mercedes" userId="S::mercedes.alier@salud.madrid.org::c2613a3b-36ce-461b-9157-28aaf6402d9a" providerId="AD" clId="Web-{601DE793-236D-466A-9D2C-D180A91F06EE}" dt="2021-05-14T13:58:35.640" v="419"/>
      <pc:docMkLst>
        <pc:docMk/>
      </pc:docMkLst>
      <pc:sldChg chg="addSp delSp modSp add replId">
        <pc:chgData name="Alier Gandaras.Mercedes" userId="S::mercedes.alier@salud.madrid.org::c2613a3b-36ce-461b-9157-28aaf6402d9a" providerId="AD" clId="Web-{601DE793-236D-466A-9D2C-D180A91F06EE}" dt="2021-05-14T13:51:37.066" v="208" actId="1076"/>
        <pc:sldMkLst>
          <pc:docMk/>
          <pc:sldMk cId="752157085" sldId="493"/>
        </pc:sldMkLst>
        <pc:spChg chg="mod">
          <ac:chgData name="Alier Gandaras.Mercedes" userId="S::mercedes.alier@salud.madrid.org::c2613a3b-36ce-461b-9157-28aaf6402d9a" providerId="AD" clId="Web-{601DE793-236D-466A-9D2C-D180A91F06EE}" dt="2021-05-14T13:51:37.066" v="208" actId="1076"/>
          <ac:spMkLst>
            <pc:docMk/>
            <pc:sldMk cId="752157085" sldId="493"/>
            <ac:spMk id="7" creationId="{00000000-0000-0000-0000-000000000000}"/>
          </ac:spMkLst>
        </pc:spChg>
        <pc:graphicFrameChg chg="add del mod">
          <ac:chgData name="Alier Gandaras.Mercedes" userId="S::mercedes.alier@salud.madrid.org::c2613a3b-36ce-461b-9157-28aaf6402d9a" providerId="AD" clId="Web-{601DE793-236D-466A-9D2C-D180A91F06EE}" dt="2021-05-14T13:45:14.101" v="11"/>
          <ac:graphicFrameMkLst>
            <pc:docMk/>
            <pc:sldMk cId="752157085" sldId="493"/>
            <ac:graphicFrameMk id="4" creationId="{931B8E5F-F223-4A71-AEF0-D02E2F791859}"/>
          </ac:graphicFrameMkLst>
        </pc:graphicFrameChg>
        <pc:graphicFrameChg chg="add mod modGraphic">
          <ac:chgData name="Alier Gandaras.Mercedes" userId="S::mercedes.alier@salud.madrid.org::c2613a3b-36ce-461b-9157-28aaf6402d9a" providerId="AD" clId="Web-{601DE793-236D-466A-9D2C-D180A91F06EE}" dt="2021-05-14T13:51:26.425" v="207" actId="1076"/>
          <ac:graphicFrameMkLst>
            <pc:docMk/>
            <pc:sldMk cId="752157085" sldId="493"/>
            <ac:graphicFrameMk id="6" creationId="{E6BF4A0F-9457-407E-B28F-9EF3680806EB}"/>
          </ac:graphicFrameMkLst>
        </pc:graphicFrameChg>
        <pc:graphicFrameChg chg="del mod modGraphic">
          <ac:chgData name="Alier Gandaras.Mercedes" userId="S::mercedes.alier@salud.madrid.org::c2613a3b-36ce-461b-9157-28aaf6402d9a" providerId="AD" clId="Web-{601DE793-236D-466A-9D2C-D180A91F06EE}" dt="2021-05-14T13:44:59.663" v="9"/>
          <ac:graphicFrameMkLst>
            <pc:docMk/>
            <pc:sldMk cId="752157085" sldId="493"/>
            <ac:graphicFrameMk id="9" creationId="{00000000-0000-0000-0000-000000000000}"/>
          </ac:graphicFrameMkLst>
        </pc:graphicFrameChg>
      </pc:sldChg>
      <pc:sldChg chg="addSp delSp modSp add replId">
        <pc:chgData name="Alier Gandaras.Mercedes" userId="S::mercedes.alier@salud.madrid.org::c2613a3b-36ce-461b-9157-28aaf6402d9a" providerId="AD" clId="Web-{601DE793-236D-466A-9D2C-D180A91F06EE}" dt="2021-05-14T13:55:02.509" v="408" actId="1076"/>
        <pc:sldMkLst>
          <pc:docMk/>
          <pc:sldMk cId="2108216238" sldId="494"/>
        </pc:sldMkLst>
        <pc:spChg chg="mod">
          <ac:chgData name="Alier Gandaras.Mercedes" userId="S::mercedes.alier@salud.madrid.org::c2613a3b-36ce-461b-9157-28aaf6402d9a" providerId="AD" clId="Web-{601DE793-236D-466A-9D2C-D180A91F06EE}" dt="2021-05-14T13:51:52.191" v="209" actId="1076"/>
          <ac:spMkLst>
            <pc:docMk/>
            <pc:sldMk cId="2108216238" sldId="494"/>
            <ac:spMk id="7" creationId="{00000000-0000-0000-0000-000000000000}"/>
          </ac:spMkLst>
        </pc:spChg>
        <pc:graphicFrameChg chg="add mod modGraphic">
          <ac:chgData name="Alier Gandaras.Mercedes" userId="S::mercedes.alier@salud.madrid.org::c2613a3b-36ce-461b-9157-28aaf6402d9a" providerId="AD" clId="Web-{601DE793-236D-466A-9D2C-D180A91F06EE}" dt="2021-05-14T13:55:02.509" v="408" actId="1076"/>
          <ac:graphicFrameMkLst>
            <pc:docMk/>
            <pc:sldMk cId="2108216238" sldId="494"/>
            <ac:graphicFrameMk id="4" creationId="{3382FAA5-0D14-4B3B-B962-586A6B0CEDC7}"/>
          </ac:graphicFrameMkLst>
        </pc:graphicFrameChg>
        <pc:graphicFrameChg chg="del mod modGraphic">
          <ac:chgData name="Alier Gandaras.Mercedes" userId="S::mercedes.alier@salud.madrid.org::c2613a3b-36ce-461b-9157-28aaf6402d9a" providerId="AD" clId="Web-{601DE793-236D-466A-9D2C-D180A91F06EE}" dt="2021-05-14T13:51:08.174" v="206"/>
          <ac:graphicFrameMkLst>
            <pc:docMk/>
            <pc:sldMk cId="2108216238" sldId="494"/>
            <ac:graphicFrameMk id="6" creationId="{E6BF4A0F-9457-407E-B28F-9EF3680806EB}"/>
          </ac:graphicFrameMkLst>
        </pc:graphicFrameChg>
      </pc:sldChg>
      <pc:sldChg chg="modSp add replId">
        <pc:chgData name="Alier Gandaras.Mercedes" userId="S::mercedes.alier@salud.madrid.org::c2613a3b-36ce-461b-9157-28aaf6402d9a" providerId="AD" clId="Web-{601DE793-236D-466A-9D2C-D180A91F06EE}" dt="2021-05-14T13:57:09.607" v="413"/>
        <pc:sldMkLst>
          <pc:docMk/>
          <pc:sldMk cId="2498547393" sldId="495"/>
        </pc:sldMkLst>
        <pc:graphicFrameChg chg="modGraphic">
          <ac:chgData name="Alier Gandaras.Mercedes" userId="S::mercedes.alier@salud.madrid.org::c2613a3b-36ce-461b-9157-28aaf6402d9a" providerId="AD" clId="Web-{601DE793-236D-466A-9D2C-D180A91F06EE}" dt="2021-05-14T13:57:09.607" v="413"/>
          <ac:graphicFrameMkLst>
            <pc:docMk/>
            <pc:sldMk cId="2498547393" sldId="495"/>
            <ac:graphicFrameMk id="4" creationId="{3382FAA5-0D14-4B3B-B962-586A6B0CEDC7}"/>
          </ac:graphicFrameMkLst>
        </pc:graphicFrameChg>
      </pc:sldChg>
      <pc:sldChg chg="modSp add replId">
        <pc:chgData name="Alier Gandaras.Mercedes" userId="S::mercedes.alier@salud.madrid.org::c2613a3b-36ce-461b-9157-28aaf6402d9a" providerId="AD" clId="Web-{601DE793-236D-466A-9D2C-D180A91F06EE}" dt="2021-05-14T13:58:35.640" v="419"/>
        <pc:sldMkLst>
          <pc:docMk/>
          <pc:sldMk cId="3304800482" sldId="496"/>
        </pc:sldMkLst>
        <pc:graphicFrameChg chg="modGraphic">
          <ac:chgData name="Alier Gandaras.Mercedes" userId="S::mercedes.alier@salud.madrid.org::c2613a3b-36ce-461b-9157-28aaf6402d9a" providerId="AD" clId="Web-{601DE793-236D-466A-9D2C-D180A91F06EE}" dt="2021-05-14T13:58:35.640" v="419"/>
          <ac:graphicFrameMkLst>
            <pc:docMk/>
            <pc:sldMk cId="3304800482" sldId="496"/>
            <ac:graphicFrameMk id="4" creationId="{3382FAA5-0D14-4B3B-B962-586A6B0CEDC7}"/>
          </ac:graphicFrameMkLst>
        </pc:graphicFrameChg>
      </pc:sldChg>
    </pc:docChg>
  </pc:docChgLst>
  <pc:docChgLst>
    <pc:chgData name="Paciello Coronel.Maria Liz" userId="S::marializ.paciello@salud.madrid.org::39ea27da-7941-423c-bc31-487adb8186d6" providerId="AD" clId="Web-{12935371-A3E5-4816-92A0-FB1D9BC12B35}"/>
    <pc:docChg chg="modSld">
      <pc:chgData name="Paciello Coronel.Maria Liz" userId="S::marializ.paciello@salud.madrid.org::39ea27da-7941-423c-bc31-487adb8186d6" providerId="AD" clId="Web-{12935371-A3E5-4816-92A0-FB1D9BC12B35}" dt="2021-05-13T16:40:20.500" v="22" actId="1076"/>
      <pc:docMkLst>
        <pc:docMk/>
      </pc:docMkLst>
      <pc:sldChg chg="addSp delSp modSp">
        <pc:chgData name="Paciello Coronel.Maria Liz" userId="S::marializ.paciello@salud.madrid.org::39ea27da-7941-423c-bc31-487adb8186d6" providerId="AD" clId="Web-{12935371-A3E5-4816-92A0-FB1D9BC12B35}" dt="2021-05-13T16:40:20.500" v="22" actId="1076"/>
        <pc:sldMkLst>
          <pc:docMk/>
          <pc:sldMk cId="2909629621" sldId="434"/>
        </pc:sldMkLst>
        <pc:spChg chg="add del mod">
          <ac:chgData name="Paciello Coronel.Maria Liz" userId="S::marializ.paciello@salud.madrid.org::39ea27da-7941-423c-bc31-487adb8186d6" providerId="AD" clId="Web-{12935371-A3E5-4816-92A0-FB1D9BC12B35}" dt="2021-05-13T16:22:45.396" v="9"/>
          <ac:spMkLst>
            <pc:docMk/>
            <pc:sldMk cId="2909629621" sldId="434"/>
            <ac:spMk id="6" creationId="{786BC4E8-BE76-4F8F-B90C-93C39DD7ED10}"/>
          </ac:spMkLst>
        </pc:spChg>
        <pc:spChg chg="mod">
          <ac:chgData name="Paciello Coronel.Maria Liz" userId="S::marializ.paciello@salud.madrid.org::39ea27da-7941-423c-bc31-487adb8186d6" providerId="AD" clId="Web-{12935371-A3E5-4816-92A0-FB1D9BC12B35}" dt="2021-05-13T16:40:03.953" v="20" actId="1076"/>
          <ac:spMkLst>
            <pc:docMk/>
            <pc:sldMk cId="2909629621" sldId="434"/>
            <ac:spMk id="21" creationId="{00000000-0000-0000-0000-000000000000}"/>
          </ac:spMkLst>
        </pc:spChg>
        <pc:spChg chg="add del mod">
          <ac:chgData name="Paciello Coronel.Maria Liz" userId="S::marializ.paciello@salud.madrid.org::39ea27da-7941-423c-bc31-487adb8186d6" providerId="AD" clId="Web-{12935371-A3E5-4816-92A0-FB1D9BC12B35}" dt="2021-05-13T16:37:44.264" v="13"/>
          <ac:spMkLst>
            <pc:docMk/>
            <pc:sldMk cId="2909629621" sldId="434"/>
            <ac:spMk id="22" creationId="{19A6A559-8493-4FB5-B041-74D50A477FBD}"/>
          </ac:spMkLst>
        </pc:spChg>
        <pc:grpChg chg="mod">
          <ac:chgData name="Paciello Coronel.Maria Liz" userId="S::marializ.paciello@salud.madrid.org::39ea27da-7941-423c-bc31-487adb8186d6" providerId="AD" clId="Web-{12935371-A3E5-4816-92A0-FB1D9BC12B35}" dt="2021-05-13T16:40:20.500" v="22" actId="1076"/>
          <ac:grpSpMkLst>
            <pc:docMk/>
            <pc:sldMk cId="2909629621" sldId="434"/>
            <ac:grpSpMk id="3" creationId="{00000000-0000-0000-0000-000000000000}"/>
          </ac:grpSpMkLst>
        </pc:grpChg>
        <pc:picChg chg="add del mod">
          <ac:chgData name="Paciello Coronel.Maria Liz" userId="S::marializ.paciello@salud.madrid.org::39ea27da-7941-423c-bc31-487adb8186d6" providerId="AD" clId="Web-{12935371-A3E5-4816-92A0-FB1D9BC12B35}" dt="2021-05-13T16:19:55.707" v="2"/>
          <ac:picMkLst>
            <pc:docMk/>
            <pc:sldMk cId="2909629621" sldId="434"/>
            <ac:picMk id="4" creationId="{3E806FA2-C0CA-42E2-8037-BDE4FFF14407}"/>
          </ac:picMkLst>
        </pc:picChg>
        <pc:picChg chg="add del mod">
          <ac:chgData name="Paciello Coronel.Maria Liz" userId="S::marializ.paciello@salud.madrid.org::39ea27da-7941-423c-bc31-487adb8186d6" providerId="AD" clId="Web-{12935371-A3E5-4816-92A0-FB1D9BC12B35}" dt="2021-05-13T16:21:15.270" v="5"/>
          <ac:picMkLst>
            <pc:docMk/>
            <pc:sldMk cId="2909629621" sldId="434"/>
            <ac:picMk id="5" creationId="{6427D651-9ADD-4CB7-9537-18EFE3C7BCD1}"/>
          </ac:picMkLst>
        </pc:picChg>
        <pc:picChg chg="add mod">
          <ac:chgData name="Paciello Coronel.Maria Liz" userId="S::marializ.paciello@salud.madrid.org::39ea27da-7941-423c-bc31-487adb8186d6" providerId="AD" clId="Web-{12935371-A3E5-4816-92A0-FB1D9BC12B35}" dt="2021-05-13T16:39:39.875" v="17" actId="14100"/>
          <ac:picMkLst>
            <pc:docMk/>
            <pc:sldMk cId="2909629621" sldId="434"/>
            <ac:picMk id="28" creationId="{10D50C65-F5F2-4D5C-ABCD-9F9F7D0AC08B}"/>
          </ac:picMkLst>
        </pc:picChg>
      </pc:sldChg>
    </pc:docChg>
  </pc:docChgLst>
  <pc:docChgLst>
    <pc:chgData name="Goni Olagua.Maria Andion" userId="S::andion.goni@salud.madrid.org::71f46b7c-4297-4e81-b482-7eb74ab1b8ea" providerId="AD" clId="Web-{6B38C79F-106A-B000-D6A6-21BBE55D7CE8}"/>
    <pc:docChg chg="modSld">
      <pc:chgData name="Goni Olagua.Maria Andion" userId="S::andion.goni@salud.madrid.org::71f46b7c-4297-4e81-b482-7eb74ab1b8ea" providerId="AD" clId="Web-{6B38C79F-106A-B000-D6A6-21BBE55D7CE8}" dt="2021-05-12T16:13:54.225" v="70" actId="20577"/>
      <pc:docMkLst>
        <pc:docMk/>
      </pc:docMkLst>
      <pc:sldChg chg="modSp">
        <pc:chgData name="Goni Olagua.Maria Andion" userId="S::andion.goni@salud.madrid.org::71f46b7c-4297-4e81-b482-7eb74ab1b8ea" providerId="AD" clId="Web-{6B38C79F-106A-B000-D6A6-21BBE55D7CE8}" dt="2021-05-12T16:13:54.225" v="70" actId="20577"/>
        <pc:sldMkLst>
          <pc:docMk/>
          <pc:sldMk cId="3148529584" sldId="491"/>
        </pc:sldMkLst>
        <pc:spChg chg="mod">
          <ac:chgData name="Goni Olagua.Maria Andion" userId="S::andion.goni@salud.madrid.org::71f46b7c-4297-4e81-b482-7eb74ab1b8ea" providerId="AD" clId="Web-{6B38C79F-106A-B000-D6A6-21BBE55D7CE8}" dt="2021-05-12T16:13:54.225" v="70" actId="20577"/>
          <ac:spMkLst>
            <pc:docMk/>
            <pc:sldMk cId="3148529584" sldId="491"/>
            <ac:spMk id="9" creationId="{00000000-0000-0000-0000-000000000000}"/>
          </ac:spMkLst>
        </pc:spChg>
        <pc:picChg chg="mod">
          <ac:chgData name="Goni Olagua.Maria Andion" userId="S::andion.goni@salud.madrid.org::71f46b7c-4297-4e81-b482-7eb74ab1b8ea" providerId="AD" clId="Web-{6B38C79F-106A-B000-D6A6-21BBE55D7CE8}" dt="2021-05-12T16:13:38.506" v="69" actId="1076"/>
          <ac:picMkLst>
            <pc:docMk/>
            <pc:sldMk cId="3148529584" sldId="491"/>
            <ac:picMk id="3" creationId="{7D992F9E-2EFF-4130-B263-EC589661D272}"/>
          </ac:picMkLst>
        </pc:picChg>
      </pc:sldChg>
    </pc:docChg>
  </pc:docChgLst>
  <pc:docChgLst>
    <pc:chgData name="Serrano Balazote.Pablo" userId="S::pserranob@salud.madrid.org::f19bdf34-62ef-43e8-af0d-ec8e2d825cc6" providerId="AD" clId="Web-{019AE5B2-11B1-44FF-A86E-27FE21967200}"/>
    <pc:docChg chg="modSld">
      <pc:chgData name="Serrano Balazote.Pablo" userId="S::pserranob@salud.madrid.org::f19bdf34-62ef-43e8-af0d-ec8e2d825cc6" providerId="AD" clId="Web-{019AE5B2-11B1-44FF-A86E-27FE21967200}" dt="2021-05-17T16:28:25.133" v="39" actId="20577"/>
      <pc:docMkLst>
        <pc:docMk/>
      </pc:docMkLst>
      <pc:sldChg chg="modSp">
        <pc:chgData name="Serrano Balazote.Pablo" userId="S::pserranob@salud.madrid.org::f19bdf34-62ef-43e8-af0d-ec8e2d825cc6" providerId="AD" clId="Web-{019AE5B2-11B1-44FF-A86E-27FE21967200}" dt="2021-05-17T16:28:25.133" v="39" actId="20577"/>
        <pc:sldMkLst>
          <pc:docMk/>
          <pc:sldMk cId="600415751" sldId="471"/>
        </pc:sldMkLst>
        <pc:spChg chg="mod">
          <ac:chgData name="Serrano Balazote.Pablo" userId="S::pserranob@salud.madrid.org::f19bdf34-62ef-43e8-af0d-ec8e2d825cc6" providerId="AD" clId="Web-{019AE5B2-11B1-44FF-A86E-27FE21967200}" dt="2021-05-17T16:28:25.133" v="39" actId="20577"/>
          <ac:spMkLst>
            <pc:docMk/>
            <pc:sldMk cId="600415751" sldId="471"/>
            <ac:spMk id="17" creationId="{00000000-0000-0000-0000-000000000000}"/>
          </ac:spMkLst>
        </pc:spChg>
      </pc:sldChg>
    </pc:docChg>
  </pc:docChgLst>
  <pc:docChgLst>
    <pc:chgData name="Azcutia Gomez.Maria Rosario" userId="S::mariarosario.azcutia@salud.madrid.org::e98ae9a0-d8f0-4d2c-802b-2e528c20f3b3" providerId="AD" clId="Web-{B384E467-5359-49B7-93C9-A8CA4C83357C}"/>
    <pc:docChg chg="modSld">
      <pc:chgData name="Azcutia Gomez.Maria Rosario" userId="S::mariarosario.azcutia@salud.madrid.org::e98ae9a0-d8f0-4d2c-802b-2e528c20f3b3" providerId="AD" clId="Web-{B384E467-5359-49B7-93C9-A8CA4C83357C}" dt="2021-05-17T13:10:01.466" v="7" actId="1076"/>
      <pc:docMkLst>
        <pc:docMk/>
      </pc:docMkLst>
      <pc:sldChg chg="modSp">
        <pc:chgData name="Azcutia Gomez.Maria Rosario" userId="S::mariarosario.azcutia@salud.madrid.org::e98ae9a0-d8f0-4d2c-802b-2e528c20f3b3" providerId="AD" clId="Web-{B384E467-5359-49B7-93C9-A8CA4C83357C}" dt="2021-05-17T13:09:12.277" v="4" actId="1076"/>
        <pc:sldMkLst>
          <pc:docMk/>
          <pc:sldMk cId="1608653820" sldId="422"/>
        </pc:sldMkLst>
        <pc:picChg chg="mod">
          <ac:chgData name="Azcutia Gomez.Maria Rosario" userId="S::mariarosario.azcutia@salud.madrid.org::e98ae9a0-d8f0-4d2c-802b-2e528c20f3b3" providerId="AD" clId="Web-{B384E467-5359-49B7-93C9-A8CA4C83357C}" dt="2021-05-17T13:09:12.277" v="4" actId="1076"/>
          <ac:picMkLst>
            <pc:docMk/>
            <pc:sldMk cId="1608653820" sldId="422"/>
            <ac:picMk id="11" creationId="{00000000-0000-0000-0000-000000000000}"/>
          </ac:picMkLst>
        </pc:picChg>
        <pc:picChg chg="mod">
          <ac:chgData name="Azcutia Gomez.Maria Rosario" userId="S::mariarosario.azcutia@salud.madrid.org::e98ae9a0-d8f0-4d2c-802b-2e528c20f3b3" providerId="AD" clId="Web-{B384E467-5359-49B7-93C9-A8CA4C83357C}" dt="2021-05-17T13:09:09.683" v="3" actId="1076"/>
          <ac:picMkLst>
            <pc:docMk/>
            <pc:sldMk cId="1608653820" sldId="422"/>
            <ac:picMk id="12" creationId="{00000000-0000-0000-0000-000000000000}"/>
          </ac:picMkLst>
        </pc:picChg>
        <pc:picChg chg="mod">
          <ac:chgData name="Azcutia Gomez.Maria Rosario" userId="S::mariarosario.azcutia@salud.madrid.org::e98ae9a0-d8f0-4d2c-802b-2e528c20f3b3" providerId="AD" clId="Web-{B384E467-5359-49B7-93C9-A8CA4C83357C}" dt="2021-05-17T13:09:04.886" v="2" actId="1076"/>
          <ac:picMkLst>
            <pc:docMk/>
            <pc:sldMk cId="1608653820" sldId="422"/>
            <ac:picMk id="13" creationId="{00000000-0000-0000-0000-000000000000}"/>
          </ac:picMkLst>
        </pc:picChg>
      </pc:sldChg>
      <pc:sldChg chg="modSp">
        <pc:chgData name="Azcutia Gomez.Maria Rosario" userId="S::mariarosario.azcutia@salud.madrid.org::e98ae9a0-d8f0-4d2c-802b-2e528c20f3b3" providerId="AD" clId="Web-{B384E467-5359-49B7-93C9-A8CA4C83357C}" dt="2021-05-17T13:10:01.466" v="7" actId="1076"/>
        <pc:sldMkLst>
          <pc:docMk/>
          <pc:sldMk cId="890736703" sldId="478"/>
        </pc:sldMkLst>
        <pc:spChg chg="mod">
          <ac:chgData name="Azcutia Gomez.Maria Rosario" userId="S::mariarosario.azcutia@salud.madrid.org::e98ae9a0-d8f0-4d2c-802b-2e528c20f3b3" providerId="AD" clId="Web-{B384E467-5359-49B7-93C9-A8CA4C83357C}" dt="2021-05-17T13:08:56.246" v="1" actId="20577"/>
          <ac:spMkLst>
            <pc:docMk/>
            <pc:sldMk cId="890736703" sldId="478"/>
            <ac:spMk id="4" creationId="{F57A13C6-E433-4D1A-8C2A-A03884B8AE57}"/>
          </ac:spMkLst>
        </pc:spChg>
        <pc:spChg chg="mod">
          <ac:chgData name="Azcutia Gomez.Maria Rosario" userId="S::mariarosario.azcutia@salud.madrid.org::e98ae9a0-d8f0-4d2c-802b-2e528c20f3b3" providerId="AD" clId="Web-{B384E467-5359-49B7-93C9-A8CA4C83357C}" dt="2021-05-17T13:10:01.466" v="7" actId="1076"/>
          <ac:spMkLst>
            <pc:docMk/>
            <pc:sldMk cId="890736703" sldId="478"/>
            <ac:spMk id="6" creationId="{354E4263-6707-4806-8AFD-704E88A35993}"/>
          </ac:spMkLst>
        </pc:spChg>
        <pc:picChg chg="mod">
          <ac:chgData name="Azcutia Gomez.Maria Rosario" userId="S::mariarosario.azcutia@salud.madrid.org::e98ae9a0-d8f0-4d2c-802b-2e528c20f3b3" providerId="AD" clId="Web-{B384E467-5359-49B7-93C9-A8CA4C83357C}" dt="2021-05-17T13:09:53.341" v="6" actId="1076"/>
          <ac:picMkLst>
            <pc:docMk/>
            <pc:sldMk cId="890736703" sldId="478"/>
            <ac:picMk id="12" creationId="{73DC861C-00EB-49B7-841B-F9AD9B71C57A}"/>
          </ac:picMkLst>
        </pc:picChg>
      </pc:sldChg>
    </pc:docChg>
  </pc:docChgLst>
  <pc:docChgLst>
    <pc:chgData name="Rivas Clemente.Francisco" userId="S::francisco.rivas@salud.madrid.org::53008126-3cca-415d-b53a-872ecfd55398" providerId="AD" clId="Web-{2EA3BC9B-4E04-4CCF-AEFB-F10DA6F46CD2}"/>
    <pc:docChg chg="modSld">
      <pc:chgData name="Rivas Clemente.Francisco" userId="S::francisco.rivas@salud.madrid.org::53008126-3cca-415d-b53a-872ecfd55398" providerId="AD" clId="Web-{2EA3BC9B-4E04-4CCF-AEFB-F10DA6F46CD2}" dt="2021-05-13T06:04:51.135" v="60" actId="20577"/>
      <pc:docMkLst>
        <pc:docMk/>
      </pc:docMkLst>
      <pc:sldChg chg="modSp">
        <pc:chgData name="Rivas Clemente.Francisco" userId="S::francisco.rivas@salud.madrid.org::53008126-3cca-415d-b53a-872ecfd55398" providerId="AD" clId="Web-{2EA3BC9B-4E04-4CCF-AEFB-F10DA6F46CD2}" dt="2021-05-13T06:04:51.135" v="60" actId="20577"/>
        <pc:sldMkLst>
          <pc:docMk/>
          <pc:sldMk cId="3107562034" sldId="421"/>
        </pc:sldMkLst>
        <pc:spChg chg="mod">
          <ac:chgData name="Rivas Clemente.Francisco" userId="S::francisco.rivas@salud.madrid.org::53008126-3cca-415d-b53a-872ecfd55398" providerId="AD" clId="Web-{2EA3BC9B-4E04-4CCF-AEFB-F10DA6F46CD2}" dt="2021-05-13T06:04:51.135" v="60" actId="20577"/>
          <ac:spMkLst>
            <pc:docMk/>
            <pc:sldMk cId="3107562034" sldId="421"/>
            <ac:spMk id="3" creationId="{00000000-0000-0000-0000-000000000000}"/>
          </ac:spMkLst>
        </pc:spChg>
      </pc:sldChg>
    </pc:docChg>
  </pc:docChgLst>
  <pc:docChgLst>
    <pc:chgData name="Goni Olagua.Maria Andion" userId="S::andion.goni@salud.madrid.org::71f46b7c-4297-4e81-b482-7eb74ab1b8ea" providerId="AD" clId="Web-{DA99204F-F7D3-49AE-A531-F390C6D97C2B}"/>
    <pc:docChg chg="modSld">
      <pc:chgData name="Goni Olagua.Maria Andion" userId="S::andion.goni@salud.madrid.org::71f46b7c-4297-4e81-b482-7eb74ab1b8ea" providerId="AD" clId="Web-{DA99204F-F7D3-49AE-A531-F390C6D97C2B}" dt="2021-05-17T08:33:58.007" v="0"/>
      <pc:docMkLst>
        <pc:docMk/>
      </pc:docMkLst>
      <pc:sldChg chg="delSp">
        <pc:chgData name="Goni Olagua.Maria Andion" userId="S::andion.goni@salud.madrid.org::71f46b7c-4297-4e81-b482-7eb74ab1b8ea" providerId="AD" clId="Web-{DA99204F-F7D3-49AE-A531-F390C6D97C2B}" dt="2021-05-17T08:33:58.007" v="0"/>
        <pc:sldMkLst>
          <pc:docMk/>
          <pc:sldMk cId="3148529584" sldId="491"/>
        </pc:sldMkLst>
        <pc:picChg chg="del">
          <ac:chgData name="Goni Olagua.Maria Andion" userId="S::andion.goni@salud.madrid.org::71f46b7c-4297-4e81-b482-7eb74ab1b8ea" providerId="AD" clId="Web-{DA99204F-F7D3-49AE-A531-F390C6D97C2B}" dt="2021-05-17T08:33:58.007" v="0"/>
          <ac:picMkLst>
            <pc:docMk/>
            <pc:sldMk cId="3148529584" sldId="491"/>
            <ac:picMk id="4" creationId="{988C2F19-4967-4F20-B467-A522730E82B2}"/>
          </ac:picMkLst>
        </pc:picChg>
      </pc:sldChg>
    </pc:docChg>
  </pc:docChgLst>
  <pc:docChgLst>
    <pc:chgData name="Nieves Gonzalez.Jose" userId="S::jose.nieves@salud.madrid.org::bcc92e56-5518-4998-a34a-c9070898ef3c" providerId="AD" clId="Web-{6FE677FF-2337-4E1D-854F-DFC46B5D1EC2}"/>
    <pc:docChg chg="modSld">
      <pc:chgData name="Nieves Gonzalez.Jose" userId="S::jose.nieves@salud.madrid.org::bcc92e56-5518-4998-a34a-c9070898ef3c" providerId="AD" clId="Web-{6FE677FF-2337-4E1D-854F-DFC46B5D1EC2}" dt="2021-05-17T12:17:21.477" v="0"/>
      <pc:docMkLst>
        <pc:docMk/>
      </pc:docMkLst>
      <pc:sldChg chg="modSp">
        <pc:chgData name="Nieves Gonzalez.Jose" userId="S::jose.nieves@salud.madrid.org::bcc92e56-5518-4998-a34a-c9070898ef3c" providerId="AD" clId="Web-{6FE677FF-2337-4E1D-854F-DFC46B5D1EC2}" dt="2021-05-17T12:17:21.477" v="0"/>
        <pc:sldMkLst>
          <pc:docMk/>
          <pc:sldMk cId="1584876995" sldId="450"/>
        </pc:sldMkLst>
        <pc:graphicFrameChg chg="modGraphic">
          <ac:chgData name="Nieves Gonzalez.Jose" userId="S::jose.nieves@salud.madrid.org::bcc92e56-5518-4998-a34a-c9070898ef3c" providerId="AD" clId="Web-{6FE677FF-2337-4E1D-854F-DFC46B5D1EC2}" dt="2021-05-17T12:17:21.477" v="0"/>
          <ac:graphicFrameMkLst>
            <pc:docMk/>
            <pc:sldMk cId="1584876995" sldId="450"/>
            <ac:graphicFrameMk id="9" creationId="{00000000-0000-0000-0000-000000000000}"/>
          </ac:graphicFrameMkLst>
        </pc:graphicFrameChg>
      </pc:sldChg>
    </pc:docChg>
  </pc:docChgLst>
  <pc:docChgLst>
    <pc:chgData name="Pose Becerra.Clotilde" userId="S::clotilde.pose@salud.madrid.org::23ce97dc-e3f5-40e5-974f-1a404fae3ec6" providerId="AD" clId="Web-{4ADF184C-3D83-4A1F-806F-E107DEC07B06}"/>
    <pc:docChg chg="modSld">
      <pc:chgData name="Pose Becerra.Clotilde" userId="S::clotilde.pose@salud.madrid.org::23ce97dc-e3f5-40e5-974f-1a404fae3ec6" providerId="AD" clId="Web-{4ADF184C-3D83-4A1F-806F-E107DEC07B06}" dt="2021-05-14T08:26:17.274" v="14" actId="14100"/>
      <pc:docMkLst>
        <pc:docMk/>
      </pc:docMkLst>
      <pc:sldChg chg="addSp delSp modSp">
        <pc:chgData name="Pose Becerra.Clotilde" userId="S::clotilde.pose@salud.madrid.org::23ce97dc-e3f5-40e5-974f-1a404fae3ec6" providerId="AD" clId="Web-{4ADF184C-3D83-4A1F-806F-E107DEC07B06}" dt="2021-05-14T08:26:17.274" v="14" actId="14100"/>
        <pc:sldMkLst>
          <pc:docMk/>
          <pc:sldMk cId="2085161481" sldId="424"/>
        </pc:sldMkLst>
        <pc:picChg chg="del">
          <ac:chgData name="Pose Becerra.Clotilde" userId="S::clotilde.pose@salud.madrid.org::23ce97dc-e3f5-40e5-974f-1a404fae3ec6" providerId="AD" clId="Web-{4ADF184C-3D83-4A1F-806F-E107DEC07B06}" dt="2021-05-14T08:22:12.963" v="0"/>
          <ac:picMkLst>
            <pc:docMk/>
            <pc:sldMk cId="2085161481" sldId="424"/>
            <ac:picMk id="3" creationId="{605643D2-CA79-42B5-904C-8F26628C350F}"/>
          </ac:picMkLst>
        </pc:picChg>
        <pc:picChg chg="add del mod">
          <ac:chgData name="Pose Becerra.Clotilde" userId="S::clotilde.pose@salud.madrid.org::23ce97dc-e3f5-40e5-974f-1a404fae3ec6" providerId="AD" clId="Web-{4ADF184C-3D83-4A1F-806F-E107DEC07B06}" dt="2021-05-14T08:24:07.657" v="5"/>
          <ac:picMkLst>
            <pc:docMk/>
            <pc:sldMk cId="2085161481" sldId="424"/>
            <ac:picMk id="4" creationId="{2A30D14A-3202-4ECB-8AFA-D0944928C804}"/>
          </ac:picMkLst>
        </pc:picChg>
        <pc:picChg chg="add del mod">
          <ac:chgData name="Pose Becerra.Clotilde" userId="S::clotilde.pose@salud.madrid.org::23ce97dc-e3f5-40e5-974f-1a404fae3ec6" providerId="AD" clId="Web-{4ADF184C-3D83-4A1F-806F-E107DEC07B06}" dt="2021-05-14T08:25:57.445" v="10"/>
          <ac:picMkLst>
            <pc:docMk/>
            <pc:sldMk cId="2085161481" sldId="424"/>
            <ac:picMk id="5" creationId="{0B5A3F6F-5F14-414B-A32E-0D7BCA48D75C}"/>
          </ac:picMkLst>
        </pc:picChg>
        <pc:picChg chg="add mod">
          <ac:chgData name="Pose Becerra.Clotilde" userId="S::clotilde.pose@salud.madrid.org::23ce97dc-e3f5-40e5-974f-1a404fae3ec6" providerId="AD" clId="Web-{4ADF184C-3D83-4A1F-806F-E107DEC07B06}" dt="2021-05-14T08:26:17.274" v="14" actId="14100"/>
          <ac:picMkLst>
            <pc:docMk/>
            <pc:sldMk cId="2085161481" sldId="424"/>
            <ac:picMk id="6" creationId="{1FD4B8F6-8A0F-401B-B276-226BCBE72B37}"/>
          </ac:picMkLst>
        </pc:picChg>
      </pc:sldChg>
    </pc:docChg>
  </pc:docChgLst>
  <pc:docChgLst>
    <pc:chgData name="Alier Gandaras.Mercedes" userId="S::mercedes.alier@salud.madrid.org::c2613a3b-36ce-461b-9157-28aaf6402d9a" providerId="AD" clId="Web-{489AE403-9414-46D4-BD63-D69DCFCB563B}"/>
    <pc:docChg chg="addSld delSld modSld">
      <pc:chgData name="Alier Gandaras.Mercedes" userId="S::mercedes.alier@salud.madrid.org::c2613a3b-36ce-461b-9157-28aaf6402d9a" providerId="AD" clId="Web-{489AE403-9414-46D4-BD63-D69DCFCB563B}" dt="2021-05-13T15:41:07.053" v="130"/>
      <pc:docMkLst>
        <pc:docMk/>
      </pc:docMkLst>
      <pc:sldChg chg="addSp delSp modSp">
        <pc:chgData name="Alier Gandaras.Mercedes" userId="S::mercedes.alier@salud.madrid.org::c2613a3b-36ce-461b-9157-28aaf6402d9a" providerId="AD" clId="Web-{489AE403-9414-46D4-BD63-D69DCFCB563B}" dt="2021-05-13T15:41:04.412" v="129" actId="20577"/>
        <pc:sldMkLst>
          <pc:docMk/>
          <pc:sldMk cId="4294887142" sldId="419"/>
        </pc:sldMkLst>
        <pc:spChg chg="add del mod">
          <ac:chgData name="Alier Gandaras.Mercedes" userId="S::mercedes.alier@salud.madrid.org::c2613a3b-36ce-461b-9157-28aaf6402d9a" providerId="AD" clId="Web-{489AE403-9414-46D4-BD63-D69DCFCB563B}" dt="2021-05-13T15:34:11.385" v="34"/>
          <ac:spMkLst>
            <pc:docMk/>
            <pc:sldMk cId="4294887142" sldId="419"/>
            <ac:spMk id="3" creationId="{E4B277E3-482C-4EDC-B9F7-977BA3B51886}"/>
          </ac:spMkLst>
        </pc:spChg>
        <pc:spChg chg="add del mod">
          <ac:chgData name="Alier Gandaras.Mercedes" userId="S::mercedes.alier@salud.madrid.org::c2613a3b-36ce-461b-9157-28aaf6402d9a" providerId="AD" clId="Web-{489AE403-9414-46D4-BD63-D69DCFCB563B}" dt="2021-05-13T15:39:51.269" v="100"/>
          <ac:spMkLst>
            <pc:docMk/>
            <pc:sldMk cId="4294887142" sldId="419"/>
            <ac:spMk id="4" creationId="{4A0B06BF-5ED5-4FD9-96B0-E7795EF3F529}"/>
          </ac:spMkLst>
        </pc:spChg>
        <pc:spChg chg="mod">
          <ac:chgData name="Alier Gandaras.Mercedes" userId="S::mercedes.alier@salud.madrid.org::c2613a3b-36ce-461b-9157-28aaf6402d9a" providerId="AD" clId="Web-{489AE403-9414-46D4-BD63-D69DCFCB563B}" dt="2021-05-13T15:30:38.754" v="11" actId="1076"/>
          <ac:spMkLst>
            <pc:docMk/>
            <pc:sldMk cId="4294887142" sldId="419"/>
            <ac:spMk id="7" creationId="{00000000-0000-0000-0000-000000000000}"/>
          </ac:spMkLst>
        </pc:spChg>
        <pc:spChg chg="mod">
          <ac:chgData name="Alier Gandaras.Mercedes" userId="S::mercedes.alier@salud.madrid.org::c2613a3b-36ce-461b-9157-28aaf6402d9a" providerId="AD" clId="Web-{489AE403-9414-46D4-BD63-D69DCFCB563B}" dt="2021-05-13T15:30:03.644" v="5" actId="1076"/>
          <ac:spMkLst>
            <pc:docMk/>
            <pc:sldMk cId="4294887142" sldId="419"/>
            <ac:spMk id="12" creationId="{00000000-0000-0000-0000-000000000000}"/>
          </ac:spMkLst>
        </pc:spChg>
        <pc:spChg chg="mod ord">
          <ac:chgData name="Alier Gandaras.Mercedes" userId="S::mercedes.alier@salud.madrid.org::c2613a3b-36ce-461b-9157-28aaf6402d9a" providerId="AD" clId="Web-{489AE403-9414-46D4-BD63-D69DCFCB563B}" dt="2021-05-13T15:34:14.291" v="35"/>
          <ac:spMkLst>
            <pc:docMk/>
            <pc:sldMk cId="4294887142" sldId="419"/>
            <ac:spMk id="16" creationId="{00000000-0000-0000-0000-000000000000}"/>
          </ac:spMkLst>
        </pc:spChg>
        <pc:spChg chg="add del mod">
          <ac:chgData name="Alier Gandaras.Mercedes" userId="S::mercedes.alier@salud.madrid.org::c2613a3b-36ce-461b-9157-28aaf6402d9a" providerId="AD" clId="Web-{489AE403-9414-46D4-BD63-D69DCFCB563B}" dt="2021-05-13T15:40:06.770" v="108"/>
          <ac:spMkLst>
            <pc:docMk/>
            <pc:sldMk cId="4294887142" sldId="419"/>
            <ac:spMk id="22" creationId="{66E0088A-4D6C-457C-BD9E-328DE0C97625}"/>
          </ac:spMkLst>
        </pc:spChg>
        <pc:spChg chg="add del">
          <ac:chgData name="Alier Gandaras.Mercedes" userId="S::mercedes.alier@salud.madrid.org::c2613a3b-36ce-461b-9157-28aaf6402d9a" providerId="AD" clId="Web-{489AE403-9414-46D4-BD63-D69DCFCB563B}" dt="2021-05-13T15:39:20.893" v="94"/>
          <ac:spMkLst>
            <pc:docMk/>
            <pc:sldMk cId="4294887142" sldId="419"/>
            <ac:spMk id="23" creationId="{8D5A55CC-C3A7-4889-BF94-02D7CF282555}"/>
          </ac:spMkLst>
        </pc:spChg>
        <pc:spChg chg="add mod">
          <ac:chgData name="Alier Gandaras.Mercedes" userId="S::mercedes.alier@salud.madrid.org::c2613a3b-36ce-461b-9157-28aaf6402d9a" providerId="AD" clId="Web-{489AE403-9414-46D4-BD63-D69DCFCB563B}" dt="2021-05-13T15:41:04.412" v="129" actId="20577"/>
          <ac:spMkLst>
            <pc:docMk/>
            <pc:sldMk cId="4294887142" sldId="419"/>
            <ac:spMk id="24" creationId="{704350F9-B44E-4195-B383-E23E7B40F55D}"/>
          </ac:spMkLst>
        </pc:spChg>
        <pc:spChg chg="add mod">
          <ac:chgData name="Alier Gandaras.Mercedes" userId="S::mercedes.alier@salud.madrid.org::c2613a3b-36ce-461b-9157-28aaf6402d9a" providerId="AD" clId="Web-{489AE403-9414-46D4-BD63-D69DCFCB563B}" dt="2021-05-13T15:40:51.630" v="122" actId="20577"/>
          <ac:spMkLst>
            <pc:docMk/>
            <pc:sldMk cId="4294887142" sldId="419"/>
            <ac:spMk id="25" creationId="{B511B098-D915-4E34-BEB8-8D3E750B2135}"/>
          </ac:spMkLst>
        </pc:spChg>
        <pc:cxnChg chg="mod">
          <ac:chgData name="Alier Gandaras.Mercedes" userId="S::mercedes.alier@salud.madrid.org::c2613a3b-36ce-461b-9157-28aaf6402d9a" providerId="AD" clId="Web-{489AE403-9414-46D4-BD63-D69DCFCB563B}" dt="2021-05-13T15:30:09.784" v="6" actId="1076"/>
          <ac:cxnSpMkLst>
            <pc:docMk/>
            <pc:sldMk cId="4294887142" sldId="419"/>
            <ac:cxnSpMk id="19" creationId="{00000000-0000-0000-0000-000000000000}"/>
          </ac:cxnSpMkLst>
        </pc:cxnChg>
        <pc:cxnChg chg="mod">
          <ac:chgData name="Alier Gandaras.Mercedes" userId="S::mercedes.alier@salud.madrid.org::c2613a3b-36ce-461b-9157-28aaf6402d9a" providerId="AD" clId="Web-{489AE403-9414-46D4-BD63-D69DCFCB563B}" dt="2021-05-13T15:29:58.800" v="4" actId="1076"/>
          <ac:cxnSpMkLst>
            <pc:docMk/>
            <pc:sldMk cId="4294887142" sldId="419"/>
            <ac:cxnSpMk id="20" creationId="{00000000-0000-0000-0000-000000000000}"/>
          </ac:cxnSpMkLst>
        </pc:cxnChg>
      </pc:sldChg>
      <pc:sldChg chg="addSp delSp add del replId">
        <pc:chgData name="Alier Gandaras.Mercedes" userId="S::mercedes.alier@salud.madrid.org::c2613a3b-36ce-461b-9157-28aaf6402d9a" providerId="AD" clId="Web-{489AE403-9414-46D4-BD63-D69DCFCB563B}" dt="2021-05-13T15:41:07.053" v="130"/>
        <pc:sldMkLst>
          <pc:docMk/>
          <pc:sldMk cId="2615034978" sldId="493"/>
        </pc:sldMkLst>
        <pc:spChg chg="add del">
          <ac:chgData name="Alier Gandaras.Mercedes" userId="S::mercedes.alier@salud.madrid.org::c2613a3b-36ce-461b-9157-28aaf6402d9a" providerId="AD" clId="Web-{489AE403-9414-46D4-BD63-D69DCFCB563B}" dt="2021-05-13T15:39:35.488" v="97"/>
          <ac:spMkLst>
            <pc:docMk/>
            <pc:sldMk cId="2615034978" sldId="493"/>
            <ac:spMk id="13" creationId="{00000000-0000-0000-0000-000000000000}"/>
          </ac:spMkLst>
        </pc:spChg>
        <pc:spChg chg="del">
          <ac:chgData name="Alier Gandaras.Mercedes" userId="S::mercedes.alier@salud.madrid.org::c2613a3b-36ce-461b-9157-28aaf6402d9a" providerId="AD" clId="Web-{489AE403-9414-46D4-BD63-D69DCFCB563B}" dt="2021-05-13T15:38:54.268" v="90"/>
          <ac:spMkLst>
            <pc:docMk/>
            <pc:sldMk cId="2615034978" sldId="493"/>
            <ac:spMk id="16" creationId="{00000000-0000-0000-0000-000000000000}"/>
          </ac:spMkLst>
        </pc:spChg>
      </pc:sldChg>
    </pc:docChg>
  </pc:docChgLst>
  <pc:docChgLst>
    <pc:chgData name="Goni Olagua.Maria Andion" userId="S::andion.goni@salud.madrid.org::71f46b7c-4297-4e81-b482-7eb74ab1b8ea" providerId="AD" clId="Web-{87A1B968-E345-420A-B382-9B85E388066D}"/>
    <pc:docChg chg="addSld">
      <pc:chgData name="Goni Olagua.Maria Andion" userId="S::andion.goni@salud.madrid.org::71f46b7c-4297-4e81-b482-7eb74ab1b8ea" providerId="AD" clId="Web-{87A1B968-E345-420A-B382-9B85E388066D}" dt="2021-03-16T11:36:47.684" v="1"/>
      <pc:docMkLst>
        <pc:docMk/>
      </pc:docMkLst>
      <pc:sldChg chg="add replId">
        <pc:chgData name="Goni Olagua.Maria Andion" userId="S::andion.goni@salud.madrid.org::71f46b7c-4297-4e81-b482-7eb74ab1b8ea" providerId="AD" clId="Web-{87A1B968-E345-420A-B382-9B85E388066D}" dt="2021-03-16T11:36:47.434" v="0"/>
        <pc:sldMkLst>
          <pc:docMk/>
          <pc:sldMk cId="4155348355" sldId="370"/>
        </pc:sldMkLst>
      </pc:sldChg>
      <pc:sldChg chg="add replId">
        <pc:chgData name="Goni Olagua.Maria Andion" userId="S::andion.goni@salud.madrid.org::71f46b7c-4297-4e81-b482-7eb74ab1b8ea" providerId="AD" clId="Web-{87A1B968-E345-420A-B382-9B85E388066D}" dt="2021-03-16T11:36:47.684" v="1"/>
        <pc:sldMkLst>
          <pc:docMk/>
          <pc:sldMk cId="823790583" sldId="371"/>
        </pc:sldMkLst>
      </pc:sldChg>
    </pc:docChg>
  </pc:docChgLst>
  <pc:docChgLst>
    <pc:chgData name="Rivas Clemente.Francisco" userId="S::francisco.rivas@salud.madrid.org::53008126-3cca-415d-b53a-872ecfd55398" providerId="AD" clId="Web-{D1887065-6E01-4D69-987B-8F41842BB0C3}"/>
    <pc:docChg chg="modSld">
      <pc:chgData name="Rivas Clemente.Francisco" userId="S::francisco.rivas@salud.madrid.org::53008126-3cca-415d-b53a-872ecfd55398" providerId="AD" clId="Web-{D1887065-6E01-4D69-987B-8F41842BB0C3}" dt="2021-05-13T07:20:35.643" v="56"/>
      <pc:docMkLst>
        <pc:docMk/>
      </pc:docMkLst>
      <pc:sldChg chg="modSp">
        <pc:chgData name="Rivas Clemente.Francisco" userId="S::francisco.rivas@salud.madrid.org::53008126-3cca-415d-b53a-872ecfd55398" providerId="AD" clId="Web-{D1887065-6E01-4D69-987B-8F41842BB0C3}" dt="2021-05-13T07:20:35.643" v="56"/>
        <pc:sldMkLst>
          <pc:docMk/>
          <pc:sldMk cId="740983963" sldId="426"/>
        </pc:sldMkLst>
        <pc:graphicFrameChg chg="mod modGraphic">
          <ac:chgData name="Rivas Clemente.Francisco" userId="S::francisco.rivas@salud.madrid.org::53008126-3cca-415d-b53a-872ecfd55398" providerId="AD" clId="Web-{D1887065-6E01-4D69-987B-8F41842BB0C3}" dt="2021-05-13T07:20:35.643" v="56"/>
          <ac:graphicFrameMkLst>
            <pc:docMk/>
            <pc:sldMk cId="740983963" sldId="426"/>
            <ac:graphicFrameMk id="40" creationId="{00000000-0000-0000-0000-000000000000}"/>
          </ac:graphicFrameMkLst>
        </pc:graphicFrameChg>
      </pc:sldChg>
    </pc:docChg>
  </pc:docChgLst>
  <pc:docChgLst>
    <pc:chgData name="Rivas Clemente.Francisco" userId="S::francisco.rivas@salud.madrid.org::53008126-3cca-415d-b53a-872ecfd55398" providerId="AD" clId="Web-{2BEF4029-BD3C-4B7E-9F87-29507931365A}"/>
    <pc:docChg chg="modSld">
      <pc:chgData name="Rivas Clemente.Francisco" userId="S::francisco.rivas@salud.madrid.org::53008126-3cca-415d-b53a-872ecfd55398" providerId="AD" clId="Web-{2BEF4029-BD3C-4B7E-9F87-29507931365A}" dt="2021-05-17T12:16:29.779" v="90" actId="1076"/>
      <pc:docMkLst>
        <pc:docMk/>
      </pc:docMkLst>
      <pc:sldChg chg="addSp delSp modSp">
        <pc:chgData name="Rivas Clemente.Francisco" userId="S::francisco.rivas@salud.madrid.org::53008126-3cca-415d-b53a-872ecfd55398" providerId="AD" clId="Web-{2BEF4029-BD3C-4B7E-9F87-29507931365A}" dt="2021-05-17T12:16:29.779" v="90" actId="1076"/>
        <pc:sldMkLst>
          <pc:docMk/>
          <pc:sldMk cId="2504686299" sldId="449"/>
        </pc:sldMkLst>
        <pc:picChg chg="add mod">
          <ac:chgData name="Rivas Clemente.Francisco" userId="S::francisco.rivas@salud.madrid.org::53008126-3cca-415d-b53a-872ecfd55398" providerId="AD" clId="Web-{2BEF4029-BD3C-4B7E-9F87-29507931365A}" dt="2021-05-17T12:16:29.779" v="90" actId="1076"/>
          <ac:picMkLst>
            <pc:docMk/>
            <pc:sldMk cId="2504686299" sldId="449"/>
            <ac:picMk id="3" creationId="{FDC3E8BF-412D-4B3E-8572-3C8E379FDBC1}"/>
          </ac:picMkLst>
        </pc:picChg>
        <pc:picChg chg="del">
          <ac:chgData name="Rivas Clemente.Francisco" userId="S::francisco.rivas@salud.madrid.org::53008126-3cca-415d-b53a-872ecfd55398" providerId="AD" clId="Web-{2BEF4029-BD3C-4B7E-9F87-29507931365A}" dt="2021-05-17T12:15:14.246" v="85"/>
          <ac:picMkLst>
            <pc:docMk/>
            <pc:sldMk cId="2504686299" sldId="449"/>
            <ac:picMk id="6" creationId="{00000000-0000-0000-0000-000000000000}"/>
          </ac:picMkLst>
        </pc:picChg>
        <pc:picChg chg="del">
          <ac:chgData name="Rivas Clemente.Francisco" userId="S::francisco.rivas@salud.madrid.org::53008126-3cca-415d-b53a-872ecfd55398" providerId="AD" clId="Web-{2BEF4029-BD3C-4B7E-9F87-29507931365A}" dt="2021-05-17T12:15:12.402" v="84"/>
          <ac:picMkLst>
            <pc:docMk/>
            <pc:sldMk cId="2504686299" sldId="449"/>
            <ac:picMk id="8" creationId="{00000000-0000-0000-0000-000000000000}"/>
          </ac:picMkLst>
        </pc:picChg>
      </pc:sldChg>
      <pc:sldChg chg="modSp">
        <pc:chgData name="Rivas Clemente.Francisco" userId="S::francisco.rivas@salud.madrid.org::53008126-3cca-415d-b53a-872ecfd55398" providerId="AD" clId="Web-{2BEF4029-BD3C-4B7E-9F87-29507931365A}" dt="2021-05-17T10:55:26.168" v="81" actId="1076"/>
        <pc:sldMkLst>
          <pc:docMk/>
          <pc:sldMk cId="1410123347" sldId="492"/>
        </pc:sldMkLst>
        <pc:spChg chg="mod">
          <ac:chgData name="Rivas Clemente.Francisco" userId="S::francisco.rivas@salud.madrid.org::53008126-3cca-415d-b53a-872ecfd55398" providerId="AD" clId="Web-{2BEF4029-BD3C-4B7E-9F87-29507931365A}" dt="2021-05-17T10:55:26.168" v="81" actId="1076"/>
          <ac:spMkLst>
            <pc:docMk/>
            <pc:sldMk cId="1410123347" sldId="492"/>
            <ac:spMk id="3" creationId="{D54C683A-76B8-4B1D-A3A7-2E0B7B1BC1F1}"/>
          </ac:spMkLst>
        </pc:spChg>
      </pc:sldChg>
      <pc:sldChg chg="modSp">
        <pc:chgData name="Rivas Clemente.Francisco" userId="S::francisco.rivas@salud.madrid.org::53008126-3cca-415d-b53a-872ecfd55398" providerId="AD" clId="Web-{2BEF4029-BD3C-4B7E-9F87-29507931365A}" dt="2021-05-17T11:37:56.130" v="83"/>
        <pc:sldMkLst>
          <pc:docMk/>
          <pc:sldMk cId="752157085" sldId="493"/>
        </pc:sldMkLst>
        <pc:graphicFrameChg chg="mod modGraphic">
          <ac:chgData name="Rivas Clemente.Francisco" userId="S::francisco.rivas@salud.madrid.org::53008126-3cca-415d-b53a-872ecfd55398" providerId="AD" clId="Web-{2BEF4029-BD3C-4B7E-9F87-29507931365A}" dt="2021-05-17T11:37:56.130" v="83"/>
          <ac:graphicFrameMkLst>
            <pc:docMk/>
            <pc:sldMk cId="752157085" sldId="493"/>
            <ac:graphicFrameMk id="6" creationId="{E6BF4A0F-9457-407E-B28F-9EF3680806EB}"/>
          </ac:graphicFrameMkLst>
        </pc:graphicFrameChg>
      </pc:sldChg>
    </pc:docChg>
  </pc:docChgLst>
  <pc:docChgLst>
    <pc:chgData name="Notario Jimenez.Pilar" userId="S::pilar.notario@salud.madrid.org::42f8e95d-f2f8-41cf-a337-e1818d91ccaf" providerId="AD" clId="Web-{807595A3-0205-4261-BF1F-93F8F85D8E79}"/>
    <pc:docChg chg="modSld">
      <pc:chgData name="Notario Jimenez.Pilar" userId="S::pilar.notario@salud.madrid.org::42f8e95d-f2f8-41cf-a337-e1818d91ccaf" providerId="AD" clId="Web-{807595A3-0205-4261-BF1F-93F8F85D8E79}" dt="2021-05-17T12:00:37.967" v="9" actId="14100"/>
      <pc:docMkLst>
        <pc:docMk/>
      </pc:docMkLst>
      <pc:sldChg chg="modSp">
        <pc:chgData name="Notario Jimenez.Pilar" userId="S::pilar.notario@salud.madrid.org::42f8e95d-f2f8-41cf-a337-e1818d91ccaf" providerId="AD" clId="Web-{807595A3-0205-4261-BF1F-93F8F85D8E79}" dt="2021-05-17T12:00:37.967" v="9" actId="14100"/>
        <pc:sldMkLst>
          <pc:docMk/>
          <pc:sldMk cId="1139696230" sldId="439"/>
        </pc:sldMkLst>
        <pc:picChg chg="mod">
          <ac:chgData name="Notario Jimenez.Pilar" userId="S::pilar.notario@salud.madrid.org::42f8e95d-f2f8-41cf-a337-e1818d91ccaf" providerId="AD" clId="Web-{807595A3-0205-4261-BF1F-93F8F85D8E79}" dt="2021-05-17T12:00:31.373" v="7" actId="14100"/>
          <ac:picMkLst>
            <pc:docMk/>
            <pc:sldMk cId="1139696230" sldId="439"/>
            <ac:picMk id="7" creationId="{67581195-F50E-4F9D-9CAA-F43E45CBFB5D}"/>
          </ac:picMkLst>
        </pc:picChg>
        <pc:picChg chg="mod">
          <ac:chgData name="Notario Jimenez.Pilar" userId="S::pilar.notario@salud.madrid.org::42f8e95d-f2f8-41cf-a337-e1818d91ccaf" providerId="AD" clId="Web-{807595A3-0205-4261-BF1F-93F8F85D8E79}" dt="2021-05-17T12:00:37.967" v="9" actId="14100"/>
          <ac:picMkLst>
            <pc:docMk/>
            <pc:sldMk cId="1139696230" sldId="439"/>
            <ac:picMk id="8" creationId="{131C71E4-CF57-46DC-80B0-C2F9DCCE2631}"/>
          </ac:picMkLst>
        </pc:picChg>
        <pc:picChg chg="mod">
          <ac:chgData name="Notario Jimenez.Pilar" userId="S::pilar.notario@salud.madrid.org::42f8e95d-f2f8-41cf-a337-e1818d91ccaf" providerId="AD" clId="Web-{807595A3-0205-4261-BF1F-93F8F85D8E79}" dt="2021-05-17T12:00:21.716" v="5" actId="1076"/>
          <ac:picMkLst>
            <pc:docMk/>
            <pc:sldMk cId="1139696230" sldId="439"/>
            <ac:picMk id="13" creationId="{4F5B5023-DB77-44C8-B5F0-61083EB382A3}"/>
          </ac:picMkLst>
        </pc:picChg>
        <pc:picChg chg="mod">
          <ac:chgData name="Notario Jimenez.Pilar" userId="S::pilar.notario@salud.madrid.org::42f8e95d-f2f8-41cf-a337-e1818d91ccaf" providerId="AD" clId="Web-{807595A3-0205-4261-BF1F-93F8F85D8E79}" dt="2021-05-17T12:00:34.123" v="8" actId="1076"/>
          <ac:picMkLst>
            <pc:docMk/>
            <pc:sldMk cId="1139696230" sldId="439"/>
            <ac:picMk id="18" creationId="{00000000-0000-0000-0000-000000000000}"/>
          </ac:picMkLst>
        </pc:picChg>
      </pc:sldChg>
    </pc:docChg>
  </pc:docChgLst>
  <pc:docChgLst>
    <pc:chgData name="Villamia Vidal.Gonzalo" userId="S::gonzalo.villamia@salud.madrid.org::85f0c06e-4c76-4629-8366-bac5572b5141" providerId="AD" clId="Web-{0FDFD2F3-6707-46B1-8650-7761801DB906}"/>
    <pc:docChg chg="modSld">
      <pc:chgData name="Villamia Vidal.Gonzalo" userId="S::gonzalo.villamia@salud.madrid.org::85f0c06e-4c76-4629-8366-bac5572b5141" providerId="AD" clId="Web-{0FDFD2F3-6707-46B1-8650-7761801DB906}" dt="2021-05-15T10:45:49.387" v="1" actId="14100"/>
      <pc:docMkLst>
        <pc:docMk/>
      </pc:docMkLst>
      <pc:sldChg chg="modSp">
        <pc:chgData name="Villamia Vidal.Gonzalo" userId="S::gonzalo.villamia@salud.madrid.org::85f0c06e-4c76-4629-8366-bac5572b5141" providerId="AD" clId="Web-{0FDFD2F3-6707-46B1-8650-7761801DB906}" dt="2021-05-15T10:45:49.387" v="1" actId="14100"/>
        <pc:sldMkLst>
          <pc:docMk/>
          <pc:sldMk cId="1634058414" sldId="475"/>
        </pc:sldMkLst>
        <pc:picChg chg="mod">
          <ac:chgData name="Villamia Vidal.Gonzalo" userId="S::gonzalo.villamia@salud.madrid.org::85f0c06e-4c76-4629-8366-bac5572b5141" providerId="AD" clId="Web-{0FDFD2F3-6707-46B1-8650-7761801DB906}" dt="2021-05-15T10:45:49.387" v="1" actId="14100"/>
          <ac:picMkLst>
            <pc:docMk/>
            <pc:sldMk cId="1634058414" sldId="475"/>
            <ac:picMk id="14" creationId="{00000000-0000-0000-0000-000000000000}"/>
          </ac:picMkLst>
        </pc:picChg>
      </pc:sldChg>
    </pc:docChg>
  </pc:docChgLst>
  <pc:docChgLst>
    <pc:chgData name="Nieves Gonzalez.Jose" userId="S::jose.nieves@salud.madrid.org::bcc92e56-5518-4998-a34a-c9070898ef3c" providerId="AD" clId="Web-{8D1C3E52-15B3-4076-B9AE-CBAE6F6EC21B}"/>
    <pc:docChg chg="delSld modSld">
      <pc:chgData name="Nieves Gonzalez.Jose" userId="S::jose.nieves@salud.madrid.org::bcc92e56-5518-4998-a34a-c9070898ef3c" providerId="AD" clId="Web-{8D1C3E52-15B3-4076-B9AE-CBAE6F6EC21B}" dt="2021-05-17T12:29:35.419" v="94"/>
      <pc:docMkLst>
        <pc:docMk/>
      </pc:docMkLst>
      <pc:sldChg chg="modSp del">
        <pc:chgData name="Nieves Gonzalez.Jose" userId="S::jose.nieves@salud.madrid.org::bcc92e56-5518-4998-a34a-c9070898ef3c" providerId="AD" clId="Web-{8D1C3E52-15B3-4076-B9AE-CBAE6F6EC21B}" dt="2021-05-17T12:24:38.398" v="36"/>
        <pc:sldMkLst>
          <pc:docMk/>
          <pc:sldMk cId="1584876995" sldId="450"/>
        </pc:sldMkLst>
        <pc:graphicFrameChg chg="modGraphic">
          <ac:chgData name="Nieves Gonzalez.Jose" userId="S::jose.nieves@salud.madrid.org::bcc92e56-5518-4998-a34a-c9070898ef3c" providerId="AD" clId="Web-{8D1C3E52-15B3-4076-B9AE-CBAE6F6EC21B}" dt="2021-05-17T12:23:35.709" v="31"/>
          <ac:graphicFrameMkLst>
            <pc:docMk/>
            <pc:sldMk cId="1584876995" sldId="450"/>
            <ac:graphicFrameMk id="9" creationId="{00000000-0000-0000-0000-000000000000}"/>
          </ac:graphicFrameMkLst>
        </pc:graphicFrameChg>
      </pc:sldChg>
      <pc:sldChg chg="modSp">
        <pc:chgData name="Nieves Gonzalez.Jose" userId="S::jose.nieves@salud.madrid.org::bcc92e56-5518-4998-a34a-c9070898ef3c" providerId="AD" clId="Web-{8D1C3E52-15B3-4076-B9AE-CBAE6F6EC21B}" dt="2021-05-17T12:28:16.605" v="93"/>
        <pc:sldMkLst>
          <pc:docMk/>
          <pc:sldMk cId="752157085" sldId="493"/>
        </pc:sldMkLst>
        <pc:graphicFrameChg chg="mod modGraphic">
          <ac:chgData name="Nieves Gonzalez.Jose" userId="S::jose.nieves@salud.madrid.org::bcc92e56-5518-4998-a34a-c9070898ef3c" providerId="AD" clId="Web-{8D1C3E52-15B3-4076-B9AE-CBAE6F6EC21B}" dt="2021-05-17T12:28:16.605" v="93"/>
          <ac:graphicFrameMkLst>
            <pc:docMk/>
            <pc:sldMk cId="752157085" sldId="493"/>
            <ac:graphicFrameMk id="6" creationId="{E6BF4A0F-9457-407E-B28F-9EF3680806EB}"/>
          </ac:graphicFrameMkLst>
        </pc:graphicFrameChg>
      </pc:sldChg>
      <pc:sldChg chg="modSp">
        <pc:chgData name="Nieves Gonzalez.Jose" userId="S::jose.nieves@salud.madrid.org::bcc92e56-5518-4998-a34a-c9070898ef3c" providerId="AD" clId="Web-{8D1C3E52-15B3-4076-B9AE-CBAE6F6EC21B}" dt="2021-05-17T12:29:35.419" v="94"/>
        <pc:sldMkLst>
          <pc:docMk/>
          <pc:sldMk cId="2108216238" sldId="494"/>
        </pc:sldMkLst>
        <pc:graphicFrameChg chg="modGraphic">
          <ac:chgData name="Nieves Gonzalez.Jose" userId="S::jose.nieves@salud.madrid.org::bcc92e56-5518-4998-a34a-c9070898ef3c" providerId="AD" clId="Web-{8D1C3E52-15B3-4076-B9AE-CBAE6F6EC21B}" dt="2021-05-17T12:29:35.419" v="94"/>
          <ac:graphicFrameMkLst>
            <pc:docMk/>
            <pc:sldMk cId="2108216238" sldId="494"/>
            <ac:graphicFrameMk id="4" creationId="{3382FAA5-0D14-4B3B-B962-586A6B0CEDC7}"/>
          </ac:graphicFrameMkLst>
        </pc:graphicFrameChg>
      </pc:sldChg>
      <pc:sldChg chg="modSp">
        <pc:chgData name="Nieves Gonzalez.Jose" userId="S::jose.nieves@salud.madrid.org::bcc92e56-5518-4998-a34a-c9070898ef3c" providerId="AD" clId="Web-{8D1C3E52-15B3-4076-B9AE-CBAE6F6EC21B}" dt="2021-05-17T12:26:37.244" v="48"/>
        <pc:sldMkLst>
          <pc:docMk/>
          <pc:sldMk cId="2498547393" sldId="495"/>
        </pc:sldMkLst>
        <pc:graphicFrameChg chg="modGraphic">
          <ac:chgData name="Nieves Gonzalez.Jose" userId="S::jose.nieves@salud.madrid.org::bcc92e56-5518-4998-a34a-c9070898ef3c" providerId="AD" clId="Web-{8D1C3E52-15B3-4076-B9AE-CBAE6F6EC21B}" dt="2021-05-17T12:26:37.244" v="48"/>
          <ac:graphicFrameMkLst>
            <pc:docMk/>
            <pc:sldMk cId="2498547393" sldId="495"/>
            <ac:graphicFrameMk id="4" creationId="{3382FAA5-0D14-4B3B-B962-586A6B0CEDC7}"/>
          </ac:graphicFrameMkLst>
        </pc:graphicFrameChg>
      </pc:sldChg>
      <pc:sldChg chg="modSp">
        <pc:chgData name="Nieves Gonzalez.Jose" userId="S::jose.nieves@salud.madrid.org::bcc92e56-5518-4998-a34a-c9070898ef3c" providerId="AD" clId="Web-{8D1C3E52-15B3-4076-B9AE-CBAE6F6EC21B}" dt="2021-05-17T12:26:48.666" v="49"/>
        <pc:sldMkLst>
          <pc:docMk/>
          <pc:sldMk cId="3304800482" sldId="496"/>
        </pc:sldMkLst>
        <pc:graphicFrameChg chg="modGraphic">
          <ac:chgData name="Nieves Gonzalez.Jose" userId="S::jose.nieves@salud.madrid.org::bcc92e56-5518-4998-a34a-c9070898ef3c" providerId="AD" clId="Web-{8D1C3E52-15B3-4076-B9AE-CBAE6F6EC21B}" dt="2021-05-17T12:26:48.666" v="49"/>
          <ac:graphicFrameMkLst>
            <pc:docMk/>
            <pc:sldMk cId="3304800482" sldId="496"/>
            <ac:graphicFrameMk id="4" creationId="{3382FAA5-0D14-4B3B-B962-586A6B0CEDC7}"/>
          </ac:graphicFrameMkLst>
        </pc:graphicFrameChg>
      </pc:sldChg>
    </pc:docChg>
  </pc:docChgLst>
  <pc:docChgLst>
    <pc:chgData name="Azcutia Gomez.Maria Rosario" userId="S::mariarosario.azcutia@salud.madrid.org::e98ae9a0-d8f0-4d2c-802b-2e528c20f3b3" providerId="AD" clId="Web-{648E67FA-F71D-4DE9-8649-FE6BBC3326B0}"/>
    <pc:docChg chg="modSld">
      <pc:chgData name="Azcutia Gomez.Maria Rosario" userId="S::mariarosario.azcutia@salud.madrid.org::e98ae9a0-d8f0-4d2c-802b-2e528c20f3b3" providerId="AD" clId="Web-{648E67FA-F71D-4DE9-8649-FE6BBC3326B0}" dt="2021-05-17T08:22:10" v="702"/>
      <pc:docMkLst>
        <pc:docMk/>
      </pc:docMkLst>
      <pc:sldChg chg="modSp">
        <pc:chgData name="Azcutia Gomez.Maria Rosario" userId="S::mariarosario.azcutia@salud.madrid.org::e98ae9a0-d8f0-4d2c-802b-2e528c20f3b3" providerId="AD" clId="Web-{648E67FA-F71D-4DE9-8649-FE6BBC3326B0}" dt="2021-05-17T07:36:24.967" v="272" actId="20577"/>
        <pc:sldMkLst>
          <pc:docMk/>
          <pc:sldMk cId="3732644258" sldId="346"/>
        </pc:sldMkLst>
        <pc:spChg chg="mod">
          <ac:chgData name="Azcutia Gomez.Maria Rosario" userId="S::mariarosario.azcutia@salud.madrid.org::e98ae9a0-d8f0-4d2c-802b-2e528c20f3b3" providerId="AD" clId="Web-{648E67FA-F71D-4DE9-8649-FE6BBC3326B0}" dt="2021-05-17T07:36:24.967" v="272" actId="20577"/>
          <ac:spMkLst>
            <pc:docMk/>
            <pc:sldMk cId="3732644258" sldId="346"/>
            <ac:spMk id="8" creationId="{00000000-0000-0000-0000-000000000000}"/>
          </ac:spMkLst>
        </pc:spChg>
      </pc:sldChg>
      <pc:sldChg chg="modSp">
        <pc:chgData name="Azcutia Gomez.Maria Rosario" userId="S::mariarosario.azcutia@salud.madrid.org::e98ae9a0-d8f0-4d2c-802b-2e528c20f3b3" providerId="AD" clId="Web-{648E67FA-F71D-4DE9-8649-FE6BBC3326B0}" dt="2021-05-17T07:43:38.555" v="445" actId="20577"/>
        <pc:sldMkLst>
          <pc:docMk/>
          <pc:sldMk cId="1608653820" sldId="422"/>
        </pc:sldMkLst>
        <pc:spChg chg="mod">
          <ac:chgData name="Azcutia Gomez.Maria Rosario" userId="S::mariarosario.azcutia@salud.madrid.org::e98ae9a0-d8f0-4d2c-802b-2e528c20f3b3" providerId="AD" clId="Web-{648E67FA-F71D-4DE9-8649-FE6BBC3326B0}" dt="2021-05-17T07:43:38.555" v="445" actId="20577"/>
          <ac:spMkLst>
            <pc:docMk/>
            <pc:sldMk cId="1608653820" sldId="422"/>
            <ac:spMk id="19" creationId="{00000000-0000-0000-0000-000000000000}"/>
          </ac:spMkLst>
        </pc:spChg>
        <pc:picChg chg="mod">
          <ac:chgData name="Azcutia Gomez.Maria Rosario" userId="S::mariarosario.azcutia@salud.madrid.org::e98ae9a0-d8f0-4d2c-802b-2e528c20f3b3" providerId="AD" clId="Web-{648E67FA-F71D-4DE9-8649-FE6BBC3326B0}" dt="2021-05-17T07:32:36.477" v="122" actId="1076"/>
          <ac:picMkLst>
            <pc:docMk/>
            <pc:sldMk cId="1608653820" sldId="422"/>
            <ac:picMk id="11" creationId="{00000000-0000-0000-0000-000000000000}"/>
          </ac:picMkLst>
        </pc:picChg>
        <pc:picChg chg="mod">
          <ac:chgData name="Azcutia Gomez.Maria Rosario" userId="S::mariarosario.azcutia@salud.madrid.org::e98ae9a0-d8f0-4d2c-802b-2e528c20f3b3" providerId="AD" clId="Web-{648E67FA-F71D-4DE9-8649-FE6BBC3326B0}" dt="2021-05-17T07:32:43.821" v="124" actId="1076"/>
          <ac:picMkLst>
            <pc:docMk/>
            <pc:sldMk cId="1608653820" sldId="422"/>
            <ac:picMk id="12" creationId="{00000000-0000-0000-0000-000000000000}"/>
          </ac:picMkLst>
        </pc:picChg>
        <pc:picChg chg="mod">
          <ac:chgData name="Azcutia Gomez.Maria Rosario" userId="S::mariarosario.azcutia@salud.madrid.org::e98ae9a0-d8f0-4d2c-802b-2e528c20f3b3" providerId="AD" clId="Web-{648E67FA-F71D-4DE9-8649-FE6BBC3326B0}" dt="2021-05-17T07:32:41.399" v="123" actId="1076"/>
          <ac:picMkLst>
            <pc:docMk/>
            <pc:sldMk cId="1608653820" sldId="422"/>
            <ac:picMk id="13" creationId="{00000000-0000-0000-0000-000000000000}"/>
          </ac:picMkLst>
        </pc:picChg>
      </pc:sldChg>
      <pc:sldChg chg="addSp delSp modSp">
        <pc:chgData name="Azcutia Gomez.Maria Rosario" userId="S::mariarosario.azcutia@salud.madrid.org::e98ae9a0-d8f0-4d2c-802b-2e528c20f3b3" providerId="AD" clId="Web-{648E67FA-F71D-4DE9-8649-FE6BBC3326B0}" dt="2021-05-17T08:22:10" v="702"/>
        <pc:sldMkLst>
          <pc:docMk/>
          <pc:sldMk cId="890736703" sldId="478"/>
        </pc:sldMkLst>
        <pc:spChg chg="mod">
          <ac:chgData name="Azcutia Gomez.Maria Rosario" userId="S::mariarosario.azcutia@salud.madrid.org::e98ae9a0-d8f0-4d2c-802b-2e528c20f3b3" providerId="AD" clId="Web-{648E67FA-F71D-4DE9-8649-FE6BBC3326B0}" dt="2021-05-17T08:04:58.835" v="639" actId="20577"/>
          <ac:spMkLst>
            <pc:docMk/>
            <pc:sldMk cId="890736703" sldId="478"/>
            <ac:spMk id="2" creationId="{00000000-0000-0000-0000-000000000000}"/>
          </ac:spMkLst>
        </pc:spChg>
        <pc:spChg chg="add mod">
          <ac:chgData name="Azcutia Gomez.Maria Rosario" userId="S::mariarosario.azcutia@salud.madrid.org::e98ae9a0-d8f0-4d2c-802b-2e528c20f3b3" providerId="AD" clId="Web-{648E67FA-F71D-4DE9-8649-FE6BBC3326B0}" dt="2021-05-17T08:06:54.416" v="664" actId="20577"/>
          <ac:spMkLst>
            <pc:docMk/>
            <pc:sldMk cId="890736703" sldId="478"/>
            <ac:spMk id="4" creationId="{F57A13C6-E433-4D1A-8C2A-A03884B8AE57}"/>
          </ac:spMkLst>
        </pc:spChg>
        <pc:spChg chg="add mod">
          <ac:chgData name="Azcutia Gomez.Maria Rosario" userId="S::mariarosario.azcutia@salud.madrid.org::e98ae9a0-d8f0-4d2c-802b-2e528c20f3b3" providerId="AD" clId="Web-{648E67FA-F71D-4DE9-8649-FE6BBC3326B0}" dt="2021-05-17T07:42:21.850" v="443" actId="20577"/>
          <ac:spMkLst>
            <pc:docMk/>
            <pc:sldMk cId="890736703" sldId="478"/>
            <ac:spMk id="5" creationId="{49DBA4BC-58B1-4CA6-A06F-AFD78A037C26}"/>
          </ac:spMkLst>
        </pc:spChg>
        <pc:spChg chg="add mod">
          <ac:chgData name="Azcutia Gomez.Maria Rosario" userId="S::mariarosario.azcutia@salud.madrid.org::e98ae9a0-d8f0-4d2c-802b-2e528c20f3b3" providerId="AD" clId="Web-{648E67FA-F71D-4DE9-8649-FE6BBC3326B0}" dt="2021-05-17T08:07:16.041" v="667" actId="1076"/>
          <ac:spMkLst>
            <pc:docMk/>
            <pc:sldMk cId="890736703" sldId="478"/>
            <ac:spMk id="6" creationId="{354E4263-6707-4806-8AFD-704E88A35993}"/>
          </ac:spMkLst>
        </pc:spChg>
        <pc:spChg chg="add mod">
          <ac:chgData name="Azcutia Gomez.Maria Rosario" userId="S::mariarosario.azcutia@salud.madrid.org::e98ae9a0-d8f0-4d2c-802b-2e528c20f3b3" providerId="AD" clId="Web-{648E67FA-F71D-4DE9-8649-FE6BBC3326B0}" dt="2021-05-17T08:13:35.144" v="690" actId="1076"/>
          <ac:spMkLst>
            <pc:docMk/>
            <pc:sldMk cId="890736703" sldId="478"/>
            <ac:spMk id="11" creationId="{24A7B9B1-4330-4184-81BF-15C03DA9950B}"/>
          </ac:spMkLst>
        </pc:spChg>
        <pc:picChg chg="add mod">
          <ac:chgData name="Azcutia Gomez.Maria Rosario" userId="S::mariarosario.azcutia@salud.madrid.org::e98ae9a0-d8f0-4d2c-802b-2e528c20f3b3" providerId="AD" clId="Web-{648E67FA-F71D-4DE9-8649-FE6BBC3326B0}" dt="2021-05-17T08:22:10" v="702"/>
          <ac:picMkLst>
            <pc:docMk/>
            <pc:sldMk cId="890736703" sldId="478"/>
            <ac:picMk id="7" creationId="{CAFB8F82-B08C-4598-8FCF-FD19BD287616}"/>
          </ac:picMkLst>
        </pc:picChg>
        <pc:picChg chg="add del mod">
          <ac:chgData name="Azcutia Gomez.Maria Rosario" userId="S::mariarosario.azcutia@salud.madrid.org::e98ae9a0-d8f0-4d2c-802b-2e528c20f3b3" providerId="AD" clId="Web-{648E67FA-F71D-4DE9-8649-FE6BBC3326B0}" dt="2021-05-17T07:53:29.444" v="620"/>
          <ac:picMkLst>
            <pc:docMk/>
            <pc:sldMk cId="890736703" sldId="478"/>
            <ac:picMk id="8" creationId="{31984463-1CA8-4195-9ECA-C1EA795A016B}"/>
          </ac:picMkLst>
        </pc:picChg>
        <pc:picChg chg="add mod">
          <ac:chgData name="Azcutia Gomez.Maria Rosario" userId="S::mariarosario.azcutia@salud.madrid.org::e98ae9a0-d8f0-4d2c-802b-2e528c20f3b3" providerId="AD" clId="Web-{648E67FA-F71D-4DE9-8649-FE6BBC3326B0}" dt="2021-05-17T08:06:56.869" v="665" actId="1076"/>
          <ac:picMkLst>
            <pc:docMk/>
            <pc:sldMk cId="890736703" sldId="478"/>
            <ac:picMk id="9" creationId="{F1B032E5-670A-4A3E-8DA4-F6C5323FF4FB}"/>
          </ac:picMkLst>
        </pc:picChg>
        <pc:picChg chg="add mod">
          <ac:chgData name="Azcutia Gomez.Maria Rosario" userId="S::mariarosario.azcutia@salud.madrid.org::e98ae9a0-d8f0-4d2c-802b-2e528c20f3b3" providerId="AD" clId="Web-{648E67FA-F71D-4DE9-8649-FE6BBC3326B0}" dt="2021-05-17T08:07:01.322" v="666" actId="1076"/>
          <ac:picMkLst>
            <pc:docMk/>
            <pc:sldMk cId="890736703" sldId="478"/>
            <ac:picMk id="10" creationId="{1E467C1C-5FC6-44D9-A2CC-373EEACF3852}"/>
          </ac:picMkLst>
        </pc:picChg>
        <pc:picChg chg="add mod">
          <ac:chgData name="Azcutia Gomez.Maria Rosario" userId="S::mariarosario.azcutia@salud.madrid.org::e98ae9a0-d8f0-4d2c-802b-2e528c20f3b3" providerId="AD" clId="Web-{648E67FA-F71D-4DE9-8649-FE6BBC3326B0}" dt="2021-05-17T08:21:48.140" v="699"/>
          <ac:picMkLst>
            <pc:docMk/>
            <pc:sldMk cId="890736703" sldId="478"/>
            <ac:picMk id="12" creationId="{73DC861C-00EB-49B7-841B-F9AD9B71C57A}"/>
          </ac:picMkLst>
        </pc:picChg>
        <pc:picChg chg="add mod">
          <ac:chgData name="Azcutia Gomez.Maria Rosario" userId="S::mariarosario.azcutia@salud.madrid.org::e98ae9a0-d8f0-4d2c-802b-2e528c20f3b3" providerId="AD" clId="Web-{648E67FA-F71D-4DE9-8649-FE6BBC3326B0}" dt="2021-05-17T08:13:30.550" v="689"/>
          <ac:picMkLst>
            <pc:docMk/>
            <pc:sldMk cId="890736703" sldId="478"/>
            <ac:picMk id="13" creationId="{72CA8194-A18A-45E6-B6F3-E33F7B196B7E}"/>
          </ac:picMkLst>
        </pc:picChg>
      </pc:sldChg>
    </pc:docChg>
  </pc:docChgLst>
  <pc:docChgLst>
    <pc:chgData name="Goni Olagua.Maria Andion" userId="S::andion.goni@salud.madrid.org::71f46b7c-4297-4e81-b482-7eb74ab1b8ea" providerId="AD" clId="Web-{C1A9E4CE-A7FC-49CC-912F-CEA77FD5F87C}"/>
    <pc:docChg chg="modSld">
      <pc:chgData name="Goni Olagua.Maria Andion" userId="S::andion.goni@salud.madrid.org::71f46b7c-4297-4e81-b482-7eb74ab1b8ea" providerId="AD" clId="Web-{C1A9E4CE-A7FC-49CC-912F-CEA77FD5F87C}" dt="2021-05-17T08:34:48.293" v="0"/>
      <pc:docMkLst>
        <pc:docMk/>
      </pc:docMkLst>
      <pc:sldChg chg="delSp">
        <pc:chgData name="Goni Olagua.Maria Andion" userId="S::andion.goni@salud.madrid.org::71f46b7c-4297-4e81-b482-7eb74ab1b8ea" providerId="AD" clId="Web-{C1A9E4CE-A7FC-49CC-912F-CEA77FD5F87C}" dt="2021-05-17T08:34:48.293" v="0"/>
        <pc:sldMkLst>
          <pc:docMk/>
          <pc:sldMk cId="3148529584" sldId="491"/>
        </pc:sldMkLst>
        <pc:picChg chg="del">
          <ac:chgData name="Goni Olagua.Maria Andion" userId="S::andion.goni@salud.madrid.org::71f46b7c-4297-4e81-b482-7eb74ab1b8ea" providerId="AD" clId="Web-{C1A9E4CE-A7FC-49CC-912F-CEA77FD5F87C}" dt="2021-05-17T08:34:48.293" v="0"/>
          <ac:picMkLst>
            <pc:docMk/>
            <pc:sldMk cId="3148529584" sldId="491"/>
            <ac:picMk id="4" creationId="{988C2F19-4967-4F20-B467-A522730E82B2}"/>
          </ac:picMkLst>
        </pc:picChg>
      </pc:sldChg>
    </pc:docChg>
  </pc:docChgLst>
  <pc:docChgLst>
    <pc:chgData name="Goni Olagua.Maria Andion" userId="S::andion.goni@salud.madrid.org::71f46b7c-4297-4e81-b482-7eb74ab1b8ea" providerId="AD" clId="Web-{CECEB49F-C07A-B000-C7F8-BD2A5F689217}"/>
    <pc:docChg chg="delSld">
      <pc:chgData name="Goni Olagua.Maria Andion" userId="S::andion.goni@salud.madrid.org::71f46b7c-4297-4e81-b482-7eb74ab1b8ea" providerId="AD" clId="Web-{CECEB49F-C07A-B000-C7F8-BD2A5F689217}" dt="2021-03-16T11:16:41.936" v="1"/>
      <pc:docMkLst>
        <pc:docMk/>
      </pc:docMkLst>
      <pc:sldChg chg="del">
        <pc:chgData name="Goni Olagua.Maria Andion" userId="S::andion.goni@salud.madrid.org::71f46b7c-4297-4e81-b482-7eb74ab1b8ea" providerId="AD" clId="Web-{CECEB49F-C07A-B000-C7F8-BD2A5F689217}" dt="2021-03-16T11:16:37.843" v="0"/>
        <pc:sldMkLst>
          <pc:docMk/>
          <pc:sldMk cId="484087705" sldId="370"/>
        </pc:sldMkLst>
      </pc:sldChg>
      <pc:sldChg chg="del">
        <pc:chgData name="Goni Olagua.Maria Andion" userId="S::andion.goni@salud.madrid.org::71f46b7c-4297-4e81-b482-7eb74ab1b8ea" providerId="AD" clId="Web-{CECEB49F-C07A-B000-C7F8-BD2A5F689217}" dt="2021-03-16T11:16:41.936" v="1"/>
        <pc:sldMkLst>
          <pc:docMk/>
          <pc:sldMk cId="624825345" sldId="371"/>
        </pc:sldMkLst>
      </pc:sldChg>
    </pc:docChg>
  </pc:docChgLst>
  <pc:docChgLst>
    <pc:chgData name="Paciello Coronel.Maria Liz" userId="S::marializ.paciello@salud.madrid.org::39ea27da-7941-423c-bc31-487adb8186d6" providerId="AD" clId="Web-{70B1A9C1-F043-4355-9094-C7B378D0B8B4}"/>
    <pc:docChg chg="addSld modSld">
      <pc:chgData name="Paciello Coronel.Maria Liz" userId="S::marializ.paciello@salud.madrid.org::39ea27da-7941-423c-bc31-487adb8186d6" providerId="AD" clId="Web-{70B1A9C1-F043-4355-9094-C7B378D0B8B4}" dt="2021-05-17T16:54:21.419" v="291" actId="1076"/>
      <pc:docMkLst>
        <pc:docMk/>
      </pc:docMkLst>
      <pc:sldChg chg="addSp delSp modSp">
        <pc:chgData name="Paciello Coronel.Maria Liz" userId="S::marializ.paciello@salud.madrid.org::39ea27da-7941-423c-bc31-487adb8186d6" providerId="AD" clId="Web-{70B1A9C1-F043-4355-9094-C7B378D0B8B4}" dt="2021-05-17T16:53:58.574" v="267" actId="1076"/>
        <pc:sldMkLst>
          <pc:docMk/>
          <pc:sldMk cId="1410123347" sldId="492"/>
        </pc:sldMkLst>
        <pc:spChg chg="del mod">
          <ac:chgData name="Paciello Coronel.Maria Liz" userId="S::marializ.paciello@salud.madrid.org::39ea27da-7941-423c-bc31-487adb8186d6" providerId="AD" clId="Web-{70B1A9C1-F043-4355-9094-C7B378D0B8B4}" dt="2021-05-17T16:36:21.701" v="45"/>
          <ac:spMkLst>
            <pc:docMk/>
            <pc:sldMk cId="1410123347" sldId="492"/>
            <ac:spMk id="3" creationId="{D54C683A-76B8-4B1D-A3A7-2E0B7B1BC1F1}"/>
          </ac:spMkLst>
        </pc:spChg>
        <pc:spChg chg="mod">
          <ac:chgData name="Paciello Coronel.Maria Liz" userId="S::marializ.paciello@salud.madrid.org::39ea27da-7941-423c-bc31-487adb8186d6" providerId="AD" clId="Web-{70B1A9C1-F043-4355-9094-C7B378D0B8B4}" dt="2021-05-17T16:34:39.605" v="31" actId="1076"/>
          <ac:spMkLst>
            <pc:docMk/>
            <pc:sldMk cId="1410123347" sldId="492"/>
            <ac:spMk id="6" creationId="{00000000-0000-0000-0000-000000000000}"/>
          </ac:spMkLst>
        </pc:spChg>
        <pc:spChg chg="mod">
          <ac:chgData name="Paciello Coronel.Maria Liz" userId="S::marializ.paciello@salud.madrid.org::39ea27da-7941-423c-bc31-487adb8186d6" providerId="AD" clId="Web-{70B1A9C1-F043-4355-9094-C7B378D0B8B4}" dt="2021-05-17T16:33:39.244" v="20" actId="1076"/>
          <ac:spMkLst>
            <pc:docMk/>
            <pc:sldMk cId="1410123347" sldId="492"/>
            <ac:spMk id="18" creationId="{00000000-0000-0000-0000-000000000000}"/>
          </ac:spMkLst>
        </pc:spChg>
        <pc:spChg chg="add mod">
          <ac:chgData name="Paciello Coronel.Maria Liz" userId="S::marializ.paciello@salud.madrid.org::39ea27da-7941-423c-bc31-487adb8186d6" providerId="AD" clId="Web-{70B1A9C1-F043-4355-9094-C7B378D0B8B4}" dt="2021-05-17T16:42:34.367" v="124" actId="1076"/>
          <ac:spMkLst>
            <pc:docMk/>
            <pc:sldMk cId="1410123347" sldId="492"/>
            <ac:spMk id="27" creationId="{AD7E10B3-755A-48E9-92EE-42B463D35422}"/>
          </ac:spMkLst>
        </pc:spChg>
        <pc:spChg chg="mod">
          <ac:chgData name="Paciello Coronel.Maria Liz" userId="S::marializ.paciello@salud.madrid.org::39ea27da-7941-423c-bc31-487adb8186d6" providerId="AD" clId="Web-{70B1A9C1-F043-4355-9094-C7B378D0B8B4}" dt="2021-05-17T16:34:31.933" v="29" actId="1076"/>
          <ac:spMkLst>
            <pc:docMk/>
            <pc:sldMk cId="1410123347" sldId="492"/>
            <ac:spMk id="28" creationId="{00000000-0000-0000-0000-000000000000}"/>
          </ac:spMkLst>
        </pc:spChg>
        <pc:spChg chg="mod">
          <ac:chgData name="Paciello Coronel.Maria Liz" userId="S::marializ.paciello@salud.madrid.org::39ea27da-7941-423c-bc31-487adb8186d6" providerId="AD" clId="Web-{70B1A9C1-F043-4355-9094-C7B378D0B8B4}" dt="2021-05-17T16:42:38.071" v="126" actId="1076"/>
          <ac:spMkLst>
            <pc:docMk/>
            <pc:sldMk cId="1410123347" sldId="492"/>
            <ac:spMk id="29" creationId="{00000000-0000-0000-0000-000000000000}"/>
          </ac:spMkLst>
        </pc:spChg>
        <pc:spChg chg="mod">
          <ac:chgData name="Paciello Coronel.Maria Liz" userId="S::marializ.paciello@salud.madrid.org::39ea27da-7941-423c-bc31-487adb8186d6" providerId="AD" clId="Web-{70B1A9C1-F043-4355-9094-C7B378D0B8B4}" dt="2021-05-17T16:43:03.134" v="133" actId="1076"/>
          <ac:spMkLst>
            <pc:docMk/>
            <pc:sldMk cId="1410123347" sldId="492"/>
            <ac:spMk id="31" creationId="{00000000-0000-0000-0000-000000000000}"/>
          </ac:spMkLst>
        </pc:spChg>
        <pc:spChg chg="mod">
          <ac:chgData name="Paciello Coronel.Maria Liz" userId="S::marializ.paciello@salud.madrid.org::39ea27da-7941-423c-bc31-487adb8186d6" providerId="AD" clId="Web-{70B1A9C1-F043-4355-9094-C7B378D0B8B4}" dt="2021-05-17T16:42:36.196" v="125" actId="1076"/>
          <ac:spMkLst>
            <pc:docMk/>
            <pc:sldMk cId="1410123347" sldId="492"/>
            <ac:spMk id="32" creationId="{00000000-0000-0000-0000-000000000000}"/>
          </ac:spMkLst>
        </pc:spChg>
        <pc:spChg chg="mod">
          <ac:chgData name="Paciello Coronel.Maria Liz" userId="S::marializ.paciello@salud.madrid.org::39ea27da-7941-423c-bc31-487adb8186d6" providerId="AD" clId="Web-{70B1A9C1-F043-4355-9094-C7B378D0B8B4}" dt="2021-05-17T16:42:56.556" v="131" actId="1076"/>
          <ac:spMkLst>
            <pc:docMk/>
            <pc:sldMk cId="1410123347" sldId="492"/>
            <ac:spMk id="34" creationId="{00000000-0000-0000-0000-000000000000}"/>
          </ac:spMkLst>
        </pc:spChg>
        <pc:spChg chg="mod">
          <ac:chgData name="Paciello Coronel.Maria Liz" userId="S::marializ.paciello@salud.madrid.org::39ea27da-7941-423c-bc31-487adb8186d6" providerId="AD" clId="Web-{70B1A9C1-F043-4355-9094-C7B378D0B8B4}" dt="2021-05-17T16:33:04.243" v="14" actId="1076"/>
          <ac:spMkLst>
            <pc:docMk/>
            <pc:sldMk cId="1410123347" sldId="492"/>
            <ac:spMk id="35" creationId="{00000000-0000-0000-0000-000000000000}"/>
          </ac:spMkLst>
        </pc:spChg>
        <pc:spChg chg="mod">
          <ac:chgData name="Paciello Coronel.Maria Liz" userId="S::marializ.paciello@salud.madrid.org::39ea27da-7941-423c-bc31-487adb8186d6" providerId="AD" clId="Web-{70B1A9C1-F043-4355-9094-C7B378D0B8B4}" dt="2021-05-17T16:33:09.165" v="15" actId="1076"/>
          <ac:spMkLst>
            <pc:docMk/>
            <pc:sldMk cId="1410123347" sldId="492"/>
            <ac:spMk id="36" creationId="{00000000-0000-0000-0000-000000000000}"/>
          </ac:spMkLst>
        </pc:spChg>
        <pc:spChg chg="add mod">
          <ac:chgData name="Paciello Coronel.Maria Liz" userId="S::marializ.paciello@salud.madrid.org::39ea27da-7941-423c-bc31-487adb8186d6" providerId="AD" clId="Web-{70B1A9C1-F043-4355-9094-C7B378D0B8B4}" dt="2021-05-17T16:42:52.821" v="130" actId="1076"/>
          <ac:spMkLst>
            <pc:docMk/>
            <pc:sldMk cId="1410123347" sldId="492"/>
            <ac:spMk id="39" creationId="{3B4C77CD-42C8-4FB6-812B-E7F96175BD35}"/>
          </ac:spMkLst>
        </pc:spChg>
        <pc:spChg chg="add mod">
          <ac:chgData name="Paciello Coronel.Maria Liz" userId="S::marializ.paciello@salud.madrid.org::39ea27da-7941-423c-bc31-487adb8186d6" providerId="AD" clId="Web-{70B1A9C1-F043-4355-9094-C7B378D0B8B4}" dt="2021-05-17T16:52:05.899" v="252" actId="1076"/>
          <ac:spMkLst>
            <pc:docMk/>
            <pc:sldMk cId="1410123347" sldId="492"/>
            <ac:spMk id="42" creationId="{A022E4F2-439E-423B-A1DF-D79D11843B1B}"/>
          </ac:spMkLst>
        </pc:spChg>
        <pc:spChg chg="add mod">
          <ac:chgData name="Paciello Coronel.Maria Liz" userId="S::marializ.paciello@salud.madrid.org::39ea27da-7941-423c-bc31-487adb8186d6" providerId="AD" clId="Web-{70B1A9C1-F043-4355-9094-C7B378D0B8B4}" dt="2021-05-17T16:53:00.057" v="261" actId="20577"/>
          <ac:spMkLst>
            <pc:docMk/>
            <pc:sldMk cId="1410123347" sldId="492"/>
            <ac:spMk id="43" creationId="{04019262-77B3-4AB6-B2D6-5744E529C603}"/>
          </ac:spMkLst>
        </pc:spChg>
        <pc:graphicFrameChg chg="add del mod modGraphic">
          <ac:chgData name="Paciello Coronel.Maria Liz" userId="S::marializ.paciello@salud.madrid.org::39ea27da-7941-423c-bc31-487adb8186d6" providerId="AD" clId="Web-{70B1A9C1-F043-4355-9094-C7B378D0B8B4}" dt="2021-05-17T16:45:28.295" v="151"/>
          <ac:graphicFrameMkLst>
            <pc:docMk/>
            <pc:sldMk cId="1410123347" sldId="492"/>
            <ac:graphicFrameMk id="10" creationId="{1C95976C-7DCF-4C7B-8103-D49D71682DCC}"/>
          </ac:graphicFrameMkLst>
        </pc:graphicFrameChg>
        <pc:picChg chg="add mod">
          <ac:chgData name="Paciello Coronel.Maria Liz" userId="S::marializ.paciello@salud.madrid.org::39ea27da-7941-423c-bc31-487adb8186d6" providerId="AD" clId="Web-{70B1A9C1-F043-4355-9094-C7B378D0B8B4}" dt="2021-05-17T16:42:48.180" v="129" actId="1076"/>
          <ac:picMkLst>
            <pc:docMk/>
            <pc:sldMk cId="1410123347" sldId="492"/>
            <ac:picMk id="7" creationId="{48CDEADD-3FF9-4D03-BDFF-D8969C6A35B4}"/>
          </ac:picMkLst>
        </pc:picChg>
        <pc:picChg chg="mod ord">
          <ac:chgData name="Paciello Coronel.Maria Liz" userId="S::marializ.paciello@salud.madrid.org::39ea27da-7941-423c-bc31-487adb8186d6" providerId="AD" clId="Web-{70B1A9C1-F043-4355-9094-C7B378D0B8B4}" dt="2021-05-17T16:43:07.400" v="134" actId="1076"/>
          <ac:picMkLst>
            <pc:docMk/>
            <pc:sldMk cId="1410123347" sldId="492"/>
            <ac:picMk id="8" creationId="{00000000-0000-0000-0000-000000000000}"/>
          </ac:picMkLst>
        </pc:picChg>
        <pc:picChg chg="mod">
          <ac:chgData name="Paciello Coronel.Maria Liz" userId="S::marializ.paciello@salud.madrid.org::39ea27da-7941-423c-bc31-487adb8186d6" providerId="AD" clId="Web-{70B1A9C1-F043-4355-9094-C7B378D0B8B4}" dt="2021-05-17T16:34:35.745" v="30" actId="1076"/>
          <ac:picMkLst>
            <pc:docMk/>
            <pc:sldMk cId="1410123347" sldId="492"/>
            <ac:picMk id="30" creationId="{00000000-0000-0000-0000-000000000000}"/>
          </ac:picMkLst>
        </pc:picChg>
        <pc:picChg chg="mod">
          <ac:chgData name="Paciello Coronel.Maria Liz" userId="S::marializ.paciello@salud.madrid.org::39ea27da-7941-423c-bc31-487adb8186d6" providerId="AD" clId="Web-{70B1A9C1-F043-4355-9094-C7B378D0B8B4}" dt="2021-05-17T16:42:59.978" v="132" actId="1076"/>
          <ac:picMkLst>
            <pc:docMk/>
            <pc:sldMk cId="1410123347" sldId="492"/>
            <ac:picMk id="33" creationId="{00000000-0000-0000-0000-000000000000}"/>
          </ac:picMkLst>
        </pc:picChg>
        <pc:picChg chg="mod">
          <ac:chgData name="Paciello Coronel.Maria Liz" userId="S::marializ.paciello@salud.madrid.org::39ea27da-7941-423c-bc31-487adb8186d6" providerId="AD" clId="Web-{70B1A9C1-F043-4355-9094-C7B378D0B8B4}" dt="2021-05-17T16:33:51.525" v="24" actId="1076"/>
          <ac:picMkLst>
            <pc:docMk/>
            <pc:sldMk cId="1410123347" sldId="492"/>
            <ac:picMk id="37" creationId="{00000000-0000-0000-0000-000000000000}"/>
          </ac:picMkLst>
        </pc:picChg>
        <pc:picChg chg="mod">
          <ac:chgData name="Paciello Coronel.Maria Liz" userId="S::marializ.paciello@salud.madrid.org::39ea27da-7941-423c-bc31-487adb8186d6" providerId="AD" clId="Web-{70B1A9C1-F043-4355-9094-C7B378D0B8B4}" dt="2021-05-17T16:34:21.542" v="28" actId="1076"/>
          <ac:picMkLst>
            <pc:docMk/>
            <pc:sldMk cId="1410123347" sldId="492"/>
            <ac:picMk id="38" creationId="{00000000-0000-0000-0000-000000000000}"/>
          </ac:picMkLst>
        </pc:picChg>
        <pc:picChg chg="add mod">
          <ac:chgData name="Paciello Coronel.Maria Liz" userId="S::marializ.paciello@salud.madrid.org::39ea27da-7941-423c-bc31-487adb8186d6" providerId="AD" clId="Web-{70B1A9C1-F043-4355-9094-C7B378D0B8B4}" dt="2021-05-17T16:53:58.574" v="267" actId="1076"/>
          <ac:picMkLst>
            <pc:docMk/>
            <pc:sldMk cId="1410123347" sldId="492"/>
            <ac:picMk id="44" creationId="{19929AF2-5564-4F61-B366-62CF3B8C7433}"/>
          </ac:picMkLst>
        </pc:picChg>
        <pc:cxnChg chg="mod">
          <ac:chgData name="Paciello Coronel.Maria Liz" userId="S::marializ.paciello@salud.madrid.org::39ea27da-7941-423c-bc31-487adb8186d6" providerId="AD" clId="Web-{70B1A9C1-F043-4355-9094-C7B378D0B8B4}" dt="2021-05-17T16:33:42.119" v="21" actId="1076"/>
          <ac:cxnSpMkLst>
            <pc:docMk/>
            <pc:sldMk cId="1410123347" sldId="492"/>
            <ac:cxnSpMk id="4" creationId="{00000000-0000-0000-0000-000000000000}"/>
          </ac:cxnSpMkLst>
        </pc:cxnChg>
      </pc:sldChg>
      <pc:sldChg chg="addSp delSp modSp add replId">
        <pc:chgData name="Paciello Coronel.Maria Liz" userId="S::marializ.paciello@salud.madrid.org::39ea27da-7941-423c-bc31-487adb8186d6" providerId="AD" clId="Web-{70B1A9C1-F043-4355-9094-C7B378D0B8B4}" dt="2021-05-17T16:54:21.419" v="291" actId="1076"/>
        <pc:sldMkLst>
          <pc:docMk/>
          <pc:sldMk cId="753237955" sldId="497"/>
        </pc:sldMkLst>
        <pc:spChg chg="mod">
          <ac:chgData name="Paciello Coronel.Maria Liz" userId="S::marializ.paciello@salud.madrid.org::39ea27da-7941-423c-bc31-487adb8186d6" providerId="AD" clId="Web-{70B1A9C1-F043-4355-9094-C7B378D0B8B4}" dt="2021-05-17T16:51:26.680" v="246" actId="14100"/>
          <ac:spMkLst>
            <pc:docMk/>
            <pc:sldMk cId="753237955" sldId="497"/>
            <ac:spMk id="3" creationId="{D54C683A-76B8-4B1D-A3A7-2E0B7B1BC1F1}"/>
          </ac:spMkLst>
        </pc:spChg>
        <pc:spChg chg="del">
          <ac:chgData name="Paciello Coronel.Maria Liz" userId="S::marializ.paciello@salud.madrid.org::39ea27da-7941-423c-bc31-487adb8186d6" providerId="AD" clId="Web-{70B1A9C1-F043-4355-9094-C7B378D0B8B4}" dt="2021-05-17T16:36:31.264" v="47"/>
          <ac:spMkLst>
            <pc:docMk/>
            <pc:sldMk cId="753237955" sldId="497"/>
            <ac:spMk id="5" creationId="{00000000-0000-0000-0000-000000000000}"/>
          </ac:spMkLst>
        </pc:spChg>
        <pc:spChg chg="del">
          <ac:chgData name="Paciello Coronel.Maria Liz" userId="S::marializ.paciello@salud.madrid.org::39ea27da-7941-423c-bc31-487adb8186d6" providerId="AD" clId="Web-{70B1A9C1-F043-4355-9094-C7B378D0B8B4}" dt="2021-05-17T16:36:38.795" v="49"/>
          <ac:spMkLst>
            <pc:docMk/>
            <pc:sldMk cId="753237955" sldId="497"/>
            <ac:spMk id="6" creationId="{00000000-0000-0000-0000-000000000000}"/>
          </ac:spMkLst>
        </pc:spChg>
        <pc:spChg chg="add mod">
          <ac:chgData name="Paciello Coronel.Maria Liz" userId="S::marializ.paciello@salud.madrid.org::39ea27da-7941-423c-bc31-487adb8186d6" providerId="AD" clId="Web-{70B1A9C1-F043-4355-9094-C7B378D0B8B4}" dt="2021-05-17T16:54:21.419" v="291" actId="1076"/>
          <ac:spMkLst>
            <pc:docMk/>
            <pc:sldMk cId="753237955" sldId="497"/>
            <ac:spMk id="7" creationId="{45A3F246-B36F-4DC6-B215-CF37393E1C68}"/>
          </ac:spMkLst>
        </pc:spChg>
        <pc:spChg chg="del">
          <ac:chgData name="Paciello Coronel.Maria Liz" userId="S::marializ.paciello@salud.madrid.org::39ea27da-7941-423c-bc31-487adb8186d6" providerId="AD" clId="Web-{70B1A9C1-F043-4355-9094-C7B378D0B8B4}" dt="2021-05-17T16:36:55.187" v="61"/>
          <ac:spMkLst>
            <pc:docMk/>
            <pc:sldMk cId="753237955" sldId="497"/>
            <ac:spMk id="13" creationId="{00000000-0000-0000-0000-000000000000}"/>
          </ac:spMkLst>
        </pc:spChg>
        <pc:spChg chg="del">
          <ac:chgData name="Paciello Coronel.Maria Liz" userId="S::marializ.paciello@salud.madrid.org::39ea27da-7941-423c-bc31-487adb8186d6" providerId="AD" clId="Web-{70B1A9C1-F043-4355-9094-C7B378D0B8B4}" dt="2021-05-17T16:36:59.062" v="64"/>
          <ac:spMkLst>
            <pc:docMk/>
            <pc:sldMk cId="753237955" sldId="497"/>
            <ac:spMk id="14" creationId="{00000000-0000-0000-0000-000000000000}"/>
          </ac:spMkLst>
        </pc:spChg>
        <pc:spChg chg="del">
          <ac:chgData name="Paciello Coronel.Maria Liz" userId="S::marializ.paciello@salud.madrid.org::39ea27da-7941-423c-bc31-487adb8186d6" providerId="AD" clId="Web-{70B1A9C1-F043-4355-9094-C7B378D0B8B4}" dt="2021-05-17T16:36:52.374" v="58"/>
          <ac:spMkLst>
            <pc:docMk/>
            <pc:sldMk cId="753237955" sldId="497"/>
            <ac:spMk id="15" creationId="{00000000-0000-0000-0000-000000000000}"/>
          </ac:spMkLst>
        </pc:spChg>
        <pc:spChg chg="del">
          <ac:chgData name="Paciello Coronel.Maria Liz" userId="S::marializ.paciello@salud.madrid.org::39ea27da-7941-423c-bc31-487adb8186d6" providerId="AD" clId="Web-{70B1A9C1-F043-4355-9094-C7B378D0B8B4}" dt="2021-05-17T16:37:24.219" v="72"/>
          <ac:spMkLst>
            <pc:docMk/>
            <pc:sldMk cId="753237955" sldId="497"/>
            <ac:spMk id="18" creationId="{00000000-0000-0000-0000-000000000000}"/>
          </ac:spMkLst>
        </pc:spChg>
        <pc:spChg chg="del">
          <ac:chgData name="Paciello Coronel.Maria Liz" userId="S::marializ.paciello@salud.madrid.org::39ea27da-7941-423c-bc31-487adb8186d6" providerId="AD" clId="Web-{70B1A9C1-F043-4355-9094-C7B378D0B8B4}" dt="2021-05-17T16:36:35.545" v="48"/>
          <ac:spMkLst>
            <pc:docMk/>
            <pc:sldMk cId="753237955" sldId="497"/>
            <ac:spMk id="28" creationId="{00000000-0000-0000-0000-000000000000}"/>
          </ac:spMkLst>
        </pc:spChg>
        <pc:spChg chg="del">
          <ac:chgData name="Paciello Coronel.Maria Liz" userId="S::marializ.paciello@salud.madrid.org::39ea27da-7941-423c-bc31-487adb8186d6" providerId="AD" clId="Web-{70B1A9C1-F043-4355-9094-C7B378D0B8B4}" dt="2021-05-17T16:36:40.827" v="51"/>
          <ac:spMkLst>
            <pc:docMk/>
            <pc:sldMk cId="753237955" sldId="497"/>
            <ac:spMk id="29" creationId="{00000000-0000-0000-0000-000000000000}"/>
          </ac:spMkLst>
        </pc:spChg>
        <pc:spChg chg="del">
          <ac:chgData name="Paciello Coronel.Maria Liz" userId="S::marializ.paciello@salud.madrid.org::39ea27da-7941-423c-bc31-487adb8186d6" providerId="AD" clId="Web-{70B1A9C1-F043-4355-9094-C7B378D0B8B4}" dt="2021-05-17T16:36:43.655" v="53"/>
          <ac:spMkLst>
            <pc:docMk/>
            <pc:sldMk cId="753237955" sldId="497"/>
            <ac:spMk id="31" creationId="{00000000-0000-0000-0000-000000000000}"/>
          </ac:spMkLst>
        </pc:spChg>
        <pc:spChg chg="del">
          <ac:chgData name="Paciello Coronel.Maria Liz" userId="S::marializ.paciello@salud.madrid.org::39ea27da-7941-423c-bc31-487adb8186d6" providerId="AD" clId="Web-{70B1A9C1-F043-4355-9094-C7B378D0B8B4}" dt="2021-05-17T16:36:44.686" v="54"/>
          <ac:spMkLst>
            <pc:docMk/>
            <pc:sldMk cId="753237955" sldId="497"/>
            <ac:spMk id="32" creationId="{00000000-0000-0000-0000-000000000000}"/>
          </ac:spMkLst>
        </pc:spChg>
        <pc:spChg chg="del mod">
          <ac:chgData name="Paciello Coronel.Maria Liz" userId="S::marializ.paciello@salud.madrid.org::39ea27da-7941-423c-bc31-487adb8186d6" providerId="AD" clId="Web-{70B1A9C1-F043-4355-9094-C7B378D0B8B4}" dt="2021-05-17T16:36:47.343" v="56"/>
          <ac:spMkLst>
            <pc:docMk/>
            <pc:sldMk cId="753237955" sldId="497"/>
            <ac:spMk id="34" creationId="{00000000-0000-0000-0000-000000000000}"/>
          </ac:spMkLst>
        </pc:spChg>
        <pc:spChg chg="del">
          <ac:chgData name="Paciello Coronel.Maria Liz" userId="S::marializ.paciello@salud.madrid.org::39ea27da-7941-423c-bc31-487adb8186d6" providerId="AD" clId="Web-{70B1A9C1-F043-4355-9094-C7B378D0B8B4}" dt="2021-05-17T16:36:53.233" v="59"/>
          <ac:spMkLst>
            <pc:docMk/>
            <pc:sldMk cId="753237955" sldId="497"/>
            <ac:spMk id="35" creationId="{00000000-0000-0000-0000-000000000000}"/>
          </ac:spMkLst>
        </pc:spChg>
        <pc:spChg chg="del">
          <ac:chgData name="Paciello Coronel.Maria Liz" userId="S::marializ.paciello@salud.madrid.org::39ea27da-7941-423c-bc31-487adb8186d6" providerId="AD" clId="Web-{70B1A9C1-F043-4355-9094-C7B378D0B8B4}" dt="2021-05-17T16:36:56.062" v="62"/>
          <ac:spMkLst>
            <pc:docMk/>
            <pc:sldMk cId="753237955" sldId="497"/>
            <ac:spMk id="36" creationId="{00000000-0000-0000-0000-000000000000}"/>
          </ac:spMkLst>
        </pc:spChg>
        <pc:graphicFrameChg chg="add del mod modGraphic">
          <ac:chgData name="Paciello Coronel.Maria Liz" userId="S::marializ.paciello@salud.madrid.org::39ea27da-7941-423c-bc31-487adb8186d6" providerId="AD" clId="Web-{70B1A9C1-F043-4355-9094-C7B378D0B8B4}" dt="2021-05-17T16:45:40.545" v="153"/>
          <ac:graphicFrameMkLst>
            <pc:docMk/>
            <pc:sldMk cId="753237955" sldId="497"/>
            <ac:graphicFrameMk id="10" creationId="{07FE670E-A98D-4C05-9321-3BAF5213CEFE}"/>
          </ac:graphicFrameMkLst>
        </pc:graphicFrameChg>
        <pc:graphicFrameChg chg="add del mod modGraphic">
          <ac:chgData name="Paciello Coronel.Maria Liz" userId="S::marializ.paciello@salud.madrid.org::39ea27da-7941-423c-bc31-487adb8186d6" providerId="AD" clId="Web-{70B1A9C1-F043-4355-9094-C7B378D0B8B4}" dt="2021-05-17T16:45:53.686" v="155"/>
          <ac:graphicFrameMkLst>
            <pc:docMk/>
            <pc:sldMk cId="753237955" sldId="497"/>
            <ac:graphicFrameMk id="40" creationId="{3B5B0868-4399-4EAE-9F35-7B6C2761827B}"/>
          </ac:graphicFrameMkLst>
        </pc:graphicFrameChg>
        <pc:graphicFrameChg chg="add del mod modGraphic">
          <ac:chgData name="Paciello Coronel.Maria Liz" userId="S::marializ.paciello@salud.madrid.org::39ea27da-7941-423c-bc31-487adb8186d6" providerId="AD" clId="Web-{70B1A9C1-F043-4355-9094-C7B378D0B8B4}" dt="2021-05-17T16:46:57.454" v="158"/>
          <ac:graphicFrameMkLst>
            <pc:docMk/>
            <pc:sldMk cId="753237955" sldId="497"/>
            <ac:graphicFrameMk id="52" creationId="{7F0B7998-F629-47F4-A347-04CAF2FEF958}"/>
          </ac:graphicFrameMkLst>
        </pc:graphicFrameChg>
        <pc:graphicFrameChg chg="add mod modGraphic">
          <ac:chgData name="Paciello Coronel.Maria Liz" userId="S::marializ.paciello@salud.madrid.org::39ea27da-7941-423c-bc31-487adb8186d6" providerId="AD" clId="Web-{70B1A9C1-F043-4355-9094-C7B378D0B8B4}" dt="2021-05-17T16:51:41.961" v="249" actId="1076"/>
          <ac:graphicFrameMkLst>
            <pc:docMk/>
            <pc:sldMk cId="753237955" sldId="497"/>
            <ac:graphicFrameMk id="75" creationId="{C67F8041-6647-4C0C-BDB2-595587A4B176}"/>
          </ac:graphicFrameMkLst>
        </pc:graphicFrameChg>
        <pc:picChg chg="del">
          <ac:chgData name="Paciello Coronel.Maria Liz" userId="S::marializ.paciello@salud.madrid.org::39ea27da-7941-423c-bc31-487adb8186d6" providerId="AD" clId="Web-{70B1A9C1-F043-4355-9094-C7B378D0B8B4}" dt="2021-05-17T16:36:41.999" v="52"/>
          <ac:picMkLst>
            <pc:docMk/>
            <pc:sldMk cId="753237955" sldId="497"/>
            <ac:picMk id="8" creationId="{00000000-0000-0000-0000-000000000000}"/>
          </ac:picMkLst>
        </pc:picChg>
        <pc:picChg chg="del">
          <ac:chgData name="Paciello Coronel.Maria Liz" userId="S::marializ.paciello@salud.madrid.org::39ea27da-7941-423c-bc31-487adb8186d6" providerId="AD" clId="Web-{70B1A9C1-F043-4355-9094-C7B378D0B8B4}" dt="2021-05-17T16:36:29.201" v="46"/>
          <ac:picMkLst>
            <pc:docMk/>
            <pc:sldMk cId="753237955" sldId="497"/>
            <ac:picMk id="9" creationId="{00000000-0000-0000-0000-000000000000}"/>
          </ac:picMkLst>
        </pc:picChg>
        <pc:picChg chg="del">
          <ac:chgData name="Paciello Coronel.Maria Liz" userId="S::marializ.paciello@salud.madrid.org::39ea27da-7941-423c-bc31-487adb8186d6" providerId="AD" clId="Web-{70B1A9C1-F043-4355-9094-C7B378D0B8B4}" dt="2021-05-17T16:36:53.937" v="60"/>
          <ac:picMkLst>
            <pc:docMk/>
            <pc:sldMk cId="753237955" sldId="497"/>
            <ac:picMk id="21" creationId="{00000000-0000-0000-0000-000000000000}"/>
          </ac:picMkLst>
        </pc:picChg>
        <pc:picChg chg="del">
          <ac:chgData name="Paciello Coronel.Maria Liz" userId="S::marializ.paciello@salud.madrid.org::39ea27da-7941-423c-bc31-487adb8186d6" providerId="AD" clId="Web-{70B1A9C1-F043-4355-9094-C7B378D0B8B4}" dt="2021-05-17T16:36:56.952" v="63"/>
          <ac:picMkLst>
            <pc:docMk/>
            <pc:sldMk cId="753237955" sldId="497"/>
            <ac:picMk id="23" creationId="{00000000-0000-0000-0000-000000000000}"/>
          </ac:picMkLst>
        </pc:picChg>
        <pc:picChg chg="del">
          <ac:chgData name="Paciello Coronel.Maria Liz" userId="S::marializ.paciello@salud.madrid.org::39ea27da-7941-423c-bc31-487adb8186d6" providerId="AD" clId="Web-{70B1A9C1-F043-4355-9094-C7B378D0B8B4}" dt="2021-05-17T16:36:39.530" v="50"/>
          <ac:picMkLst>
            <pc:docMk/>
            <pc:sldMk cId="753237955" sldId="497"/>
            <ac:picMk id="30" creationId="{00000000-0000-0000-0000-000000000000}"/>
          </ac:picMkLst>
        </pc:picChg>
        <pc:picChg chg="del">
          <ac:chgData name="Paciello Coronel.Maria Liz" userId="S::marializ.paciello@salud.madrid.org::39ea27da-7941-423c-bc31-487adb8186d6" providerId="AD" clId="Web-{70B1A9C1-F043-4355-9094-C7B378D0B8B4}" dt="2021-05-17T16:36:47.921" v="57"/>
          <ac:picMkLst>
            <pc:docMk/>
            <pc:sldMk cId="753237955" sldId="497"/>
            <ac:picMk id="33" creationId="{00000000-0000-0000-0000-000000000000}"/>
          </ac:picMkLst>
        </pc:picChg>
        <pc:picChg chg="del">
          <ac:chgData name="Paciello Coronel.Maria Liz" userId="S::marializ.paciello@salud.madrid.org::39ea27da-7941-423c-bc31-487adb8186d6" providerId="AD" clId="Web-{70B1A9C1-F043-4355-9094-C7B378D0B8B4}" dt="2021-05-17T16:37:25.578" v="73"/>
          <ac:picMkLst>
            <pc:docMk/>
            <pc:sldMk cId="753237955" sldId="497"/>
            <ac:picMk id="37" creationId="{00000000-0000-0000-0000-000000000000}"/>
          </ac:picMkLst>
        </pc:picChg>
        <pc:picChg chg="del">
          <ac:chgData name="Paciello Coronel.Maria Liz" userId="S::marializ.paciello@salud.madrid.org::39ea27da-7941-423c-bc31-487adb8186d6" providerId="AD" clId="Web-{70B1A9C1-F043-4355-9094-C7B378D0B8B4}" dt="2021-05-17T16:50:27.350" v="229"/>
          <ac:picMkLst>
            <pc:docMk/>
            <pc:sldMk cId="753237955" sldId="497"/>
            <ac:picMk id="38" creationId="{00000000-0000-0000-0000-000000000000}"/>
          </ac:picMkLst>
        </pc:picChg>
        <pc:picChg chg="add del mod">
          <ac:chgData name="Paciello Coronel.Maria Liz" userId="S::marializ.paciello@salud.madrid.org::39ea27da-7941-423c-bc31-487adb8186d6" providerId="AD" clId="Web-{70B1A9C1-F043-4355-9094-C7B378D0B8B4}" dt="2021-05-17T16:49:12.207" v="188"/>
          <ac:picMkLst>
            <pc:docMk/>
            <pc:sldMk cId="753237955" sldId="497"/>
            <ac:picMk id="98" creationId="{A8396658-945E-4EF2-8FD0-80C374086D26}"/>
          </ac:picMkLst>
        </pc:picChg>
        <pc:cxnChg chg="del">
          <ac:chgData name="Paciello Coronel.Maria Liz" userId="S::marializ.paciello@salud.madrid.org::39ea27da-7941-423c-bc31-487adb8186d6" providerId="AD" clId="Web-{70B1A9C1-F043-4355-9094-C7B378D0B8B4}" dt="2021-05-17T16:37:26.969" v="74"/>
          <ac:cxnSpMkLst>
            <pc:docMk/>
            <pc:sldMk cId="753237955" sldId="497"/>
            <ac:cxnSpMk id="4" creationId="{00000000-0000-0000-0000-000000000000}"/>
          </ac:cxnSpMkLst>
        </pc:cxnChg>
      </pc:sldChg>
    </pc:docChg>
  </pc:docChgLst>
  <pc:docChgLst>
    <pc:chgData name="Notario Jimenez.Pilar" userId="S::pilar.notario@salud.madrid.org::42f8e95d-f2f8-41cf-a337-e1818d91ccaf" providerId="AD" clId="Web-{C7967867-0343-46FE-89F5-5720DF3B0EF8}"/>
    <pc:docChg chg="modSld">
      <pc:chgData name="Notario Jimenez.Pilar" userId="S::pilar.notario@salud.madrid.org::42f8e95d-f2f8-41cf-a337-e1818d91ccaf" providerId="AD" clId="Web-{C7967867-0343-46FE-89F5-5720DF3B0EF8}" dt="2021-05-14T11:31:45.426" v="529" actId="1076"/>
      <pc:docMkLst>
        <pc:docMk/>
      </pc:docMkLst>
      <pc:sldChg chg="addSp delSp modSp">
        <pc:chgData name="Notario Jimenez.Pilar" userId="S::pilar.notario@salud.madrid.org::42f8e95d-f2f8-41cf-a337-e1818d91ccaf" providerId="AD" clId="Web-{C7967867-0343-46FE-89F5-5720DF3B0EF8}" dt="2021-05-14T11:31:45.426" v="529" actId="1076"/>
        <pc:sldMkLst>
          <pc:docMk/>
          <pc:sldMk cId="1882919374" sldId="410"/>
        </pc:sldMkLst>
        <pc:picChg chg="add mod">
          <ac:chgData name="Notario Jimenez.Pilar" userId="S::pilar.notario@salud.madrid.org::42f8e95d-f2f8-41cf-a337-e1818d91ccaf" providerId="AD" clId="Web-{C7967867-0343-46FE-89F5-5720DF3B0EF8}" dt="2021-05-14T11:31:12.113" v="526" actId="1076"/>
          <ac:picMkLst>
            <pc:docMk/>
            <pc:sldMk cId="1882919374" sldId="410"/>
            <ac:picMk id="3" creationId="{FA78DDB9-CFE2-4CB3-8D1D-F314F63AB095}"/>
          </ac:picMkLst>
        </pc:picChg>
        <pc:picChg chg="add del mod">
          <ac:chgData name="Notario Jimenez.Pilar" userId="S::pilar.notario@salud.madrid.org::42f8e95d-f2f8-41cf-a337-e1818d91ccaf" providerId="AD" clId="Web-{C7967867-0343-46FE-89F5-5720DF3B0EF8}" dt="2021-05-14T11:30:25.003" v="515"/>
          <ac:picMkLst>
            <pc:docMk/>
            <pc:sldMk cId="1882919374" sldId="410"/>
            <ac:picMk id="4" creationId="{AE71D6B9-1400-409A-BFA6-7ED4F497063D}"/>
          </ac:picMkLst>
        </pc:picChg>
        <pc:picChg chg="add mod ord">
          <ac:chgData name="Notario Jimenez.Pilar" userId="S::pilar.notario@salud.madrid.org::42f8e95d-f2f8-41cf-a337-e1818d91ccaf" providerId="AD" clId="Web-{C7967867-0343-46FE-89F5-5720DF3B0EF8}" dt="2021-05-14T11:31:45.426" v="529" actId="1076"/>
          <ac:picMkLst>
            <pc:docMk/>
            <pc:sldMk cId="1882919374" sldId="410"/>
            <ac:picMk id="5" creationId="{693339E4-A828-47F3-A4ED-F652627EDF16}"/>
          </ac:picMkLst>
        </pc:picChg>
        <pc:picChg chg="del">
          <ac:chgData name="Notario Jimenez.Pilar" userId="S::pilar.notario@salud.madrid.org::42f8e95d-f2f8-41cf-a337-e1818d91ccaf" providerId="AD" clId="Web-{C7967867-0343-46FE-89F5-5720DF3B0EF8}" dt="2021-05-14T11:30:35.878" v="520"/>
          <ac:picMkLst>
            <pc:docMk/>
            <pc:sldMk cId="1882919374" sldId="410"/>
            <ac:picMk id="11" creationId="{00000000-0000-0000-0000-000000000000}"/>
          </ac:picMkLst>
        </pc:picChg>
        <pc:picChg chg="del">
          <ac:chgData name="Notario Jimenez.Pilar" userId="S::pilar.notario@salud.madrid.org::42f8e95d-f2f8-41cf-a337-e1818d91ccaf" providerId="AD" clId="Web-{C7967867-0343-46FE-89F5-5720DF3B0EF8}" dt="2021-05-14T11:30:28.112" v="516"/>
          <ac:picMkLst>
            <pc:docMk/>
            <pc:sldMk cId="1882919374" sldId="410"/>
            <ac:picMk id="12" creationId="{00000000-0000-0000-0000-000000000000}"/>
          </ac:picMkLst>
        </pc:picChg>
      </pc:sldChg>
      <pc:sldChg chg="modSp">
        <pc:chgData name="Notario Jimenez.Pilar" userId="S::pilar.notario@salud.madrid.org::42f8e95d-f2f8-41cf-a337-e1818d91ccaf" providerId="AD" clId="Web-{C7967867-0343-46FE-89F5-5720DF3B0EF8}" dt="2021-05-14T11:26:05.404" v="467"/>
        <pc:sldMkLst>
          <pc:docMk/>
          <pc:sldMk cId="4129629452" sldId="468"/>
        </pc:sldMkLst>
        <pc:graphicFrameChg chg="mod modGraphic">
          <ac:chgData name="Notario Jimenez.Pilar" userId="S::pilar.notario@salud.madrid.org::42f8e95d-f2f8-41cf-a337-e1818d91ccaf" providerId="AD" clId="Web-{C7967867-0343-46FE-89F5-5720DF3B0EF8}" dt="2021-05-14T10:16:39.201" v="236" actId="1076"/>
          <ac:graphicFrameMkLst>
            <pc:docMk/>
            <pc:sldMk cId="4129629452" sldId="468"/>
            <ac:graphicFrameMk id="46" creationId="{00000000-0000-0000-0000-000000000000}"/>
          </ac:graphicFrameMkLst>
        </pc:graphicFrameChg>
        <pc:graphicFrameChg chg="mod modGraphic">
          <ac:chgData name="Notario Jimenez.Pilar" userId="S::pilar.notario@salud.madrid.org::42f8e95d-f2f8-41cf-a337-e1818d91ccaf" providerId="AD" clId="Web-{C7967867-0343-46FE-89F5-5720DF3B0EF8}" dt="2021-05-14T10:16:50.076" v="239" actId="1076"/>
          <ac:graphicFrameMkLst>
            <pc:docMk/>
            <pc:sldMk cId="4129629452" sldId="468"/>
            <ac:graphicFrameMk id="47" creationId="{00000000-0000-0000-0000-000000000000}"/>
          </ac:graphicFrameMkLst>
        </pc:graphicFrameChg>
        <pc:graphicFrameChg chg="mod modGraphic">
          <ac:chgData name="Notario Jimenez.Pilar" userId="S::pilar.notario@salud.madrid.org::42f8e95d-f2f8-41cf-a337-e1818d91ccaf" providerId="AD" clId="Web-{C7967867-0343-46FE-89F5-5720DF3B0EF8}" dt="2021-05-14T11:26:05.404" v="467"/>
          <ac:graphicFrameMkLst>
            <pc:docMk/>
            <pc:sldMk cId="4129629452" sldId="468"/>
            <ac:graphicFrameMk id="48" creationId="{00000000-0000-0000-0000-000000000000}"/>
          </ac:graphicFrameMkLst>
        </pc:graphicFrameChg>
      </pc:sldChg>
      <pc:sldChg chg="addSp delSp modSp">
        <pc:chgData name="Notario Jimenez.Pilar" userId="S::pilar.notario@salud.madrid.org::42f8e95d-f2f8-41cf-a337-e1818d91ccaf" providerId="AD" clId="Web-{C7967867-0343-46FE-89F5-5720DF3B0EF8}" dt="2021-05-14T11:26:49.718" v="511" actId="1076"/>
        <pc:sldMkLst>
          <pc:docMk/>
          <pc:sldMk cId="27453071" sldId="469"/>
        </pc:sldMkLst>
        <pc:spChg chg="add mod">
          <ac:chgData name="Notario Jimenez.Pilar" userId="S::pilar.notario@salud.madrid.org::42f8e95d-f2f8-41cf-a337-e1818d91ccaf" providerId="AD" clId="Web-{C7967867-0343-46FE-89F5-5720DF3B0EF8}" dt="2021-05-14T11:26:35.202" v="507" actId="1076"/>
          <ac:spMkLst>
            <pc:docMk/>
            <pc:sldMk cId="27453071" sldId="469"/>
            <ac:spMk id="10" creationId="{67DD774C-AA24-4BAE-9412-0527E2EF9AA1}"/>
          </ac:spMkLst>
        </pc:spChg>
        <pc:graphicFrameChg chg="add del mod modGraphic">
          <ac:chgData name="Notario Jimenez.Pilar" userId="S::pilar.notario@salud.madrid.org::42f8e95d-f2f8-41cf-a337-e1818d91ccaf" providerId="AD" clId="Web-{C7967867-0343-46FE-89F5-5720DF3B0EF8}" dt="2021-05-14T09:55:07.536" v="9"/>
          <ac:graphicFrameMkLst>
            <pc:docMk/>
            <pc:sldMk cId="27453071" sldId="469"/>
            <ac:graphicFrameMk id="4" creationId="{216AD0A7-68C1-4F74-A6FA-D3377FB1C06F}"/>
          </ac:graphicFrameMkLst>
        </pc:graphicFrameChg>
        <pc:graphicFrameChg chg="add del mod">
          <ac:chgData name="Notario Jimenez.Pilar" userId="S::pilar.notario@salud.madrid.org::42f8e95d-f2f8-41cf-a337-e1818d91ccaf" providerId="AD" clId="Web-{C7967867-0343-46FE-89F5-5720DF3B0EF8}" dt="2021-05-14T09:56:39.913" v="11"/>
          <ac:graphicFrameMkLst>
            <pc:docMk/>
            <pc:sldMk cId="27453071" sldId="469"/>
            <ac:graphicFrameMk id="6" creationId="{47F87FC5-A37E-4A81-8ECE-778D6010DA86}"/>
          </ac:graphicFrameMkLst>
        </pc:graphicFrameChg>
        <pc:graphicFrameChg chg="add mod modGraphic">
          <ac:chgData name="Notario Jimenez.Pilar" userId="S::pilar.notario@salud.madrid.org::42f8e95d-f2f8-41cf-a337-e1818d91ccaf" providerId="AD" clId="Web-{C7967867-0343-46FE-89F5-5720DF3B0EF8}" dt="2021-05-14T11:26:22.373" v="505"/>
          <ac:graphicFrameMkLst>
            <pc:docMk/>
            <pc:sldMk cId="27453071" sldId="469"/>
            <ac:graphicFrameMk id="7" creationId="{5B4F1AAC-9EA8-4F63-A016-3872FF63CBA8}"/>
          </ac:graphicFrameMkLst>
        </pc:graphicFrameChg>
        <pc:graphicFrameChg chg="add del mod">
          <ac:chgData name="Notario Jimenez.Pilar" userId="S::pilar.notario@salud.madrid.org::42f8e95d-f2f8-41cf-a337-e1818d91ccaf" providerId="AD" clId="Web-{C7967867-0343-46FE-89F5-5720DF3B0EF8}" dt="2021-05-14T10:00:49.183" v="77"/>
          <ac:graphicFrameMkLst>
            <pc:docMk/>
            <pc:sldMk cId="27453071" sldId="469"/>
            <ac:graphicFrameMk id="9" creationId="{49232737-20EA-4667-B372-9C0BD93F1033}"/>
          </ac:graphicFrameMkLst>
        </pc:graphicFrameChg>
        <pc:graphicFrameChg chg="del">
          <ac:chgData name="Notario Jimenez.Pilar" userId="S::pilar.notario@salud.madrid.org::42f8e95d-f2f8-41cf-a337-e1818d91ccaf" providerId="AD" clId="Web-{C7967867-0343-46FE-89F5-5720DF3B0EF8}" dt="2021-05-14T09:53:49.738" v="0"/>
          <ac:graphicFrameMkLst>
            <pc:docMk/>
            <pc:sldMk cId="27453071" sldId="469"/>
            <ac:graphicFrameMk id="18" creationId="{00000000-0000-0000-0000-000000000000}"/>
          </ac:graphicFrameMkLst>
        </pc:graphicFrameChg>
        <pc:picChg chg="add del mod">
          <ac:chgData name="Notario Jimenez.Pilar" userId="S::pilar.notario@salud.madrid.org::42f8e95d-f2f8-41cf-a337-e1818d91ccaf" providerId="AD" clId="Web-{C7967867-0343-46FE-89F5-5720DF3B0EF8}" dt="2021-05-14T10:59:49.646" v="431"/>
          <ac:picMkLst>
            <pc:docMk/>
            <pc:sldMk cId="27453071" sldId="469"/>
            <ac:picMk id="3" creationId="{170ABBDC-798E-4339-929A-DE43566827B8}"/>
          </ac:picMkLst>
        </pc:picChg>
        <pc:picChg chg="add mod">
          <ac:chgData name="Notario Jimenez.Pilar" userId="S::pilar.notario@salud.madrid.org::42f8e95d-f2f8-41cf-a337-e1818d91ccaf" providerId="AD" clId="Web-{C7967867-0343-46FE-89F5-5720DF3B0EF8}" dt="2021-05-14T11:26:43.139" v="509" actId="1076"/>
          <ac:picMkLst>
            <pc:docMk/>
            <pc:sldMk cId="27453071" sldId="469"/>
            <ac:picMk id="3" creationId="{3116933A-07BC-42DF-84CC-732488B55933}"/>
          </ac:picMkLst>
        </pc:picChg>
        <pc:picChg chg="mod">
          <ac:chgData name="Notario Jimenez.Pilar" userId="S::pilar.notario@salud.madrid.org::42f8e95d-f2f8-41cf-a337-e1818d91ccaf" providerId="AD" clId="Web-{C7967867-0343-46FE-89F5-5720DF3B0EF8}" dt="2021-05-14T11:26:49.718" v="511" actId="1076"/>
          <ac:picMkLst>
            <pc:docMk/>
            <pc:sldMk cId="27453071" sldId="469"/>
            <ac:picMk id="11" creationId="{00000000-0000-0000-0000-000000000000}"/>
          </ac:picMkLst>
        </pc:picChg>
        <pc:picChg chg="mod">
          <ac:chgData name="Notario Jimenez.Pilar" userId="S::pilar.notario@salud.madrid.org::42f8e95d-f2f8-41cf-a337-e1818d91ccaf" providerId="AD" clId="Web-{C7967867-0343-46FE-89F5-5720DF3B0EF8}" dt="2021-05-14T11:26:26.061" v="506" actId="1076"/>
          <ac:picMkLst>
            <pc:docMk/>
            <pc:sldMk cId="27453071" sldId="469"/>
            <ac:picMk id="12" creationId="{00000000-0000-0000-0000-000000000000}"/>
          </ac:picMkLst>
        </pc:picChg>
        <pc:picChg chg="mod">
          <ac:chgData name="Notario Jimenez.Pilar" userId="S::pilar.notario@salud.madrid.org::42f8e95d-f2f8-41cf-a337-e1818d91ccaf" providerId="AD" clId="Web-{C7967867-0343-46FE-89F5-5720DF3B0EF8}" dt="2021-05-14T11:26:39.327" v="508" actId="1076"/>
          <ac:picMkLst>
            <pc:docMk/>
            <pc:sldMk cId="27453071" sldId="469"/>
            <ac:picMk id="13" creationId="{00000000-0000-0000-0000-000000000000}"/>
          </ac:picMkLst>
        </pc:picChg>
        <pc:picChg chg="mod">
          <ac:chgData name="Notario Jimenez.Pilar" userId="S::pilar.notario@salud.madrid.org::42f8e95d-f2f8-41cf-a337-e1818d91ccaf" providerId="AD" clId="Web-{C7967867-0343-46FE-89F5-5720DF3B0EF8}" dt="2021-05-14T11:26:47.389" v="510" actId="1076"/>
          <ac:picMkLst>
            <pc:docMk/>
            <pc:sldMk cId="27453071" sldId="469"/>
            <ac:picMk id="14" creationId="{00000000-0000-0000-0000-000000000000}"/>
          </ac:picMkLst>
        </pc:picChg>
      </pc:sldChg>
      <pc:sldChg chg="addSp modSp">
        <pc:chgData name="Notario Jimenez.Pilar" userId="S::pilar.notario@salud.madrid.org::42f8e95d-f2f8-41cf-a337-e1818d91ccaf" providerId="AD" clId="Web-{C7967867-0343-46FE-89F5-5720DF3B0EF8}" dt="2021-05-14T11:22:11.244" v="454" actId="20577"/>
        <pc:sldMkLst>
          <pc:docMk/>
          <pc:sldMk cId="2388907917" sldId="470"/>
        </pc:sldMkLst>
        <pc:spChg chg="mod">
          <ac:chgData name="Notario Jimenez.Pilar" userId="S::pilar.notario@salud.madrid.org::42f8e95d-f2f8-41cf-a337-e1818d91ccaf" providerId="AD" clId="Web-{C7967867-0343-46FE-89F5-5720DF3B0EF8}" dt="2021-05-14T11:22:11.244" v="454" actId="20577"/>
          <ac:spMkLst>
            <pc:docMk/>
            <pc:sldMk cId="2388907917" sldId="470"/>
            <ac:spMk id="9" creationId="{00000000-0000-0000-0000-000000000000}"/>
          </ac:spMkLst>
        </pc:spChg>
        <pc:picChg chg="add mod">
          <ac:chgData name="Notario Jimenez.Pilar" userId="S::pilar.notario@salud.madrid.org::42f8e95d-f2f8-41cf-a337-e1818d91ccaf" providerId="AD" clId="Web-{C7967867-0343-46FE-89F5-5720DF3B0EF8}" dt="2021-05-14T11:21:30.118" v="450" actId="1076"/>
          <ac:picMkLst>
            <pc:docMk/>
            <pc:sldMk cId="2388907917" sldId="470"/>
            <ac:picMk id="3" creationId="{EACC74AD-5437-4934-848C-08F328DF0049}"/>
          </ac:picMkLst>
        </pc:picChg>
      </pc:sldChg>
      <pc:sldChg chg="addSp modSp">
        <pc:chgData name="Notario Jimenez.Pilar" userId="S::pilar.notario@salud.madrid.org::42f8e95d-f2f8-41cf-a337-e1818d91ccaf" providerId="AD" clId="Web-{C7967867-0343-46FE-89F5-5720DF3B0EF8}" dt="2021-05-14T11:25:21.216" v="465"/>
        <pc:sldMkLst>
          <pc:docMk/>
          <pc:sldMk cId="600415751" sldId="471"/>
        </pc:sldMkLst>
        <pc:graphicFrameChg chg="mod">
          <ac:chgData name="Notario Jimenez.Pilar" userId="S::pilar.notario@salud.madrid.org::42f8e95d-f2f8-41cf-a337-e1818d91ccaf" providerId="AD" clId="Web-{C7967867-0343-46FE-89F5-5720DF3B0EF8}" dt="2021-05-14T11:25:06.685" v="463" actId="1076"/>
          <ac:graphicFrameMkLst>
            <pc:docMk/>
            <pc:sldMk cId="600415751" sldId="471"/>
            <ac:graphicFrameMk id="9" creationId="{00000000-0000-0000-0000-000000000000}"/>
          </ac:graphicFrameMkLst>
        </pc:graphicFrameChg>
        <pc:picChg chg="add mod">
          <ac:chgData name="Notario Jimenez.Pilar" userId="S::pilar.notario@salud.madrid.org::42f8e95d-f2f8-41cf-a337-e1818d91ccaf" providerId="AD" clId="Web-{C7967867-0343-46FE-89F5-5720DF3B0EF8}" dt="2021-05-14T11:25:21.216" v="465"/>
          <ac:picMkLst>
            <pc:docMk/>
            <pc:sldMk cId="600415751" sldId="471"/>
            <ac:picMk id="3" creationId="{2B345870-B014-4D3B-892A-D9A30EB305CF}"/>
          </ac:picMkLst>
        </pc:picChg>
        <pc:picChg chg="mod ord">
          <ac:chgData name="Notario Jimenez.Pilar" userId="S::pilar.notario@salud.madrid.org::42f8e95d-f2f8-41cf-a337-e1818d91ccaf" providerId="AD" clId="Web-{C7967867-0343-46FE-89F5-5720DF3B0EF8}" dt="2021-05-14T11:25:00.278" v="461" actId="1076"/>
          <ac:picMkLst>
            <pc:docMk/>
            <pc:sldMk cId="600415751" sldId="471"/>
            <ac:picMk id="10" creationId="{00000000-0000-0000-0000-000000000000}"/>
          </ac:picMkLst>
        </pc:picChg>
        <pc:picChg chg="mod">
          <ac:chgData name="Notario Jimenez.Pilar" userId="S::pilar.notario@salud.madrid.org::42f8e95d-f2f8-41cf-a337-e1818d91ccaf" providerId="AD" clId="Web-{C7967867-0343-46FE-89F5-5720DF3B0EF8}" dt="2021-05-14T11:25:04.200" v="462" actId="1076"/>
          <ac:picMkLst>
            <pc:docMk/>
            <pc:sldMk cId="600415751" sldId="471"/>
            <ac:picMk id="15" creationId="{00000000-0000-0000-0000-000000000000}"/>
          </ac:picMkLst>
        </pc:picChg>
      </pc:sldChg>
    </pc:docChg>
  </pc:docChgLst>
  <pc:docChgLst>
    <pc:chgData name="Arenas Barbero.Joaquin" userId="S::joaquin.arenas@salud.madrid.org::f7272169-e938-4ea5-bd14-54c479629e66" providerId="AD" clId="Web-{20D0E2EB-30C3-490B-B5FA-04C17109D892}"/>
    <pc:docChg chg="modSld">
      <pc:chgData name="Arenas Barbero.Joaquin" userId="S::joaquin.arenas@salud.madrid.org::f7272169-e938-4ea5-bd14-54c479629e66" providerId="AD" clId="Web-{20D0E2EB-30C3-490B-B5FA-04C17109D892}" dt="2021-05-12T12:54:24.532" v="10" actId="20577"/>
      <pc:docMkLst>
        <pc:docMk/>
      </pc:docMkLst>
      <pc:sldChg chg="delSp modSp">
        <pc:chgData name="Arenas Barbero.Joaquin" userId="S::joaquin.arenas@salud.madrid.org::f7272169-e938-4ea5-bd14-54c479629e66" providerId="AD" clId="Web-{20D0E2EB-30C3-490B-B5FA-04C17109D892}" dt="2021-05-12T12:54:24.532" v="10" actId="20577"/>
        <pc:sldMkLst>
          <pc:docMk/>
          <pc:sldMk cId="2316823527" sldId="464"/>
        </pc:sldMkLst>
        <pc:spChg chg="topLvl">
          <ac:chgData name="Arenas Barbero.Joaquin" userId="S::joaquin.arenas@salud.madrid.org::f7272169-e938-4ea5-bd14-54c479629e66" providerId="AD" clId="Web-{20D0E2EB-30C3-490B-B5FA-04C17109D892}" dt="2021-05-12T12:54:08.719" v="7"/>
          <ac:spMkLst>
            <pc:docMk/>
            <pc:sldMk cId="2316823527" sldId="464"/>
            <ac:spMk id="21" creationId="{00000000-0000-0000-0000-000000000000}"/>
          </ac:spMkLst>
        </pc:spChg>
        <pc:spChg chg="mod topLvl">
          <ac:chgData name="Arenas Barbero.Joaquin" userId="S::joaquin.arenas@salud.madrid.org::f7272169-e938-4ea5-bd14-54c479629e66" providerId="AD" clId="Web-{20D0E2EB-30C3-490B-B5FA-04C17109D892}" dt="2021-05-12T12:54:24.532" v="10" actId="20577"/>
          <ac:spMkLst>
            <pc:docMk/>
            <pc:sldMk cId="2316823527" sldId="464"/>
            <ac:spMk id="22" creationId="{00000000-0000-0000-0000-000000000000}"/>
          </ac:spMkLst>
        </pc:spChg>
        <pc:spChg chg="topLvl">
          <ac:chgData name="Arenas Barbero.Joaquin" userId="S::joaquin.arenas@salud.madrid.org::f7272169-e938-4ea5-bd14-54c479629e66" providerId="AD" clId="Web-{20D0E2EB-30C3-490B-B5FA-04C17109D892}" dt="2021-05-12T12:54:08.719" v="7"/>
          <ac:spMkLst>
            <pc:docMk/>
            <pc:sldMk cId="2316823527" sldId="464"/>
            <ac:spMk id="23" creationId="{00000000-0000-0000-0000-000000000000}"/>
          </ac:spMkLst>
        </pc:spChg>
        <pc:grpChg chg="del">
          <ac:chgData name="Arenas Barbero.Joaquin" userId="S::joaquin.arenas@salud.madrid.org::f7272169-e938-4ea5-bd14-54c479629e66" providerId="AD" clId="Web-{20D0E2EB-30C3-490B-B5FA-04C17109D892}" dt="2021-05-12T12:54:08.719" v="7"/>
          <ac:grpSpMkLst>
            <pc:docMk/>
            <pc:sldMk cId="2316823527" sldId="464"/>
            <ac:grpSpMk id="3" creationId="{00000000-0000-0000-0000-000000000000}"/>
          </ac:grpSpMkLst>
        </pc:grpChg>
        <pc:picChg chg="topLvl">
          <ac:chgData name="Arenas Barbero.Joaquin" userId="S::joaquin.arenas@salud.madrid.org::f7272169-e938-4ea5-bd14-54c479629e66" providerId="AD" clId="Web-{20D0E2EB-30C3-490B-B5FA-04C17109D892}" dt="2021-05-12T12:54:08.719" v="7"/>
          <ac:picMkLst>
            <pc:docMk/>
            <pc:sldMk cId="2316823527" sldId="464"/>
            <ac:picMk id="18" creationId="{00000000-0000-0000-0000-000000000000}"/>
          </ac:picMkLst>
        </pc:picChg>
        <pc:picChg chg="topLvl">
          <ac:chgData name="Arenas Barbero.Joaquin" userId="S::joaquin.arenas@salud.madrid.org::f7272169-e938-4ea5-bd14-54c479629e66" providerId="AD" clId="Web-{20D0E2EB-30C3-490B-B5FA-04C17109D892}" dt="2021-05-12T12:54:08.719" v="7"/>
          <ac:picMkLst>
            <pc:docMk/>
            <pc:sldMk cId="2316823527" sldId="464"/>
            <ac:picMk id="19" creationId="{00000000-0000-0000-0000-000000000000}"/>
          </ac:picMkLst>
        </pc:picChg>
        <pc:picChg chg="topLvl">
          <ac:chgData name="Arenas Barbero.Joaquin" userId="S::joaquin.arenas@salud.madrid.org::f7272169-e938-4ea5-bd14-54c479629e66" providerId="AD" clId="Web-{20D0E2EB-30C3-490B-B5FA-04C17109D892}" dt="2021-05-12T12:54:08.719" v="7"/>
          <ac:picMkLst>
            <pc:docMk/>
            <pc:sldMk cId="2316823527" sldId="464"/>
            <ac:picMk id="20" creationId="{00000000-0000-0000-0000-000000000000}"/>
          </ac:picMkLst>
        </pc:picChg>
      </pc:sldChg>
      <pc:sldChg chg="addSp modSp">
        <pc:chgData name="Arenas Barbero.Joaquin" userId="S::joaquin.arenas@salud.madrid.org::f7272169-e938-4ea5-bd14-54c479629e66" providerId="AD" clId="Web-{20D0E2EB-30C3-490B-B5FA-04C17109D892}" dt="2021-05-12T12:49:26.120" v="6" actId="1076"/>
        <pc:sldMkLst>
          <pc:docMk/>
          <pc:sldMk cId="3314833504" sldId="479"/>
        </pc:sldMkLst>
        <pc:picChg chg="add mod">
          <ac:chgData name="Arenas Barbero.Joaquin" userId="S::joaquin.arenas@salud.madrid.org::f7272169-e938-4ea5-bd14-54c479629e66" providerId="AD" clId="Web-{20D0E2EB-30C3-490B-B5FA-04C17109D892}" dt="2021-05-12T12:49:26.120" v="6" actId="1076"/>
          <ac:picMkLst>
            <pc:docMk/>
            <pc:sldMk cId="3314833504" sldId="479"/>
            <ac:picMk id="4" creationId="{CD768C09-E730-43DA-9945-4EF9CCA63D46}"/>
          </ac:picMkLst>
        </pc:picChg>
      </pc:sldChg>
    </pc:docChg>
  </pc:docChgLst>
  <pc:docChgLst>
    <pc:chgData name="Goni Olagua.Maria Andion" userId="S::andion.goni@salud.madrid.org::71f46b7c-4297-4e81-b482-7eb74ab1b8ea" providerId="AD" clId="Web-{112BF128-646C-42F7-91A3-A91C6C9E5468}"/>
    <pc:docChg chg="modSld">
      <pc:chgData name="Goni Olagua.Maria Andion" userId="S::andion.goni@salud.madrid.org::71f46b7c-4297-4e81-b482-7eb74ab1b8ea" providerId="AD" clId="Web-{112BF128-646C-42F7-91A3-A91C6C9E5468}" dt="2021-05-12T15:45:33.277" v="0" actId="20577"/>
      <pc:docMkLst>
        <pc:docMk/>
      </pc:docMkLst>
      <pc:sldChg chg="modSp">
        <pc:chgData name="Goni Olagua.Maria Andion" userId="S::andion.goni@salud.madrid.org::71f46b7c-4297-4e81-b482-7eb74ab1b8ea" providerId="AD" clId="Web-{112BF128-646C-42F7-91A3-A91C6C9E5468}" dt="2021-05-12T15:45:33.277" v="0" actId="20577"/>
        <pc:sldMkLst>
          <pc:docMk/>
          <pc:sldMk cId="4044077188" sldId="343"/>
        </pc:sldMkLst>
        <pc:spChg chg="mod">
          <ac:chgData name="Goni Olagua.Maria Andion" userId="S::andion.goni@salud.madrid.org::71f46b7c-4297-4e81-b482-7eb74ab1b8ea" providerId="AD" clId="Web-{112BF128-646C-42F7-91A3-A91C6C9E5468}" dt="2021-05-12T15:45:33.277" v="0" actId="20577"/>
          <ac:spMkLst>
            <pc:docMk/>
            <pc:sldMk cId="4044077188" sldId="343"/>
            <ac:spMk id="8" creationId="{00000000-0000-0000-0000-000000000000}"/>
          </ac:spMkLst>
        </pc:spChg>
      </pc:sldChg>
    </pc:docChg>
  </pc:docChgLst>
  <pc:docChgLst>
    <pc:chgData name="Goni Olagua.Maria Andion" userId="S::andion.goni@salud.madrid.org::71f46b7c-4297-4e81-b482-7eb74ab1b8ea" providerId="AD" clId="Web-{B3B2384F-9EC7-4318-8129-951CC34FEB9F}"/>
    <pc:docChg chg="modSld">
      <pc:chgData name="Goni Olagua.Maria Andion" userId="S::andion.goni@salud.madrid.org::71f46b7c-4297-4e81-b482-7eb74ab1b8ea" providerId="AD" clId="Web-{B3B2384F-9EC7-4318-8129-951CC34FEB9F}" dt="2021-05-17T08:42:32.284" v="9" actId="1076"/>
      <pc:docMkLst>
        <pc:docMk/>
      </pc:docMkLst>
      <pc:sldChg chg="delSp modSp">
        <pc:chgData name="Goni Olagua.Maria Andion" userId="S::andion.goni@salud.madrid.org::71f46b7c-4297-4e81-b482-7eb74ab1b8ea" providerId="AD" clId="Web-{B3B2384F-9EC7-4318-8129-951CC34FEB9F}" dt="2021-05-17T08:42:32.284" v="9" actId="1076"/>
        <pc:sldMkLst>
          <pc:docMk/>
          <pc:sldMk cId="2884306507" sldId="437"/>
        </pc:sldMkLst>
        <pc:picChg chg="mod">
          <ac:chgData name="Goni Olagua.Maria Andion" userId="S::andion.goni@salud.madrid.org::71f46b7c-4297-4e81-b482-7eb74ab1b8ea" providerId="AD" clId="Web-{B3B2384F-9EC7-4318-8129-951CC34FEB9F}" dt="2021-05-17T08:42:32.284" v="9" actId="1076"/>
          <ac:picMkLst>
            <pc:docMk/>
            <pc:sldMk cId="2884306507" sldId="437"/>
            <ac:picMk id="4" creationId="{729BB9DF-D04F-4CD4-8C51-59D4B7A442D1}"/>
          </ac:picMkLst>
        </pc:picChg>
        <pc:picChg chg="mod">
          <ac:chgData name="Goni Olagua.Maria Andion" userId="S::andion.goni@salud.madrid.org::71f46b7c-4297-4e81-b482-7eb74ab1b8ea" providerId="AD" clId="Web-{B3B2384F-9EC7-4318-8129-951CC34FEB9F}" dt="2021-05-17T08:42:19.612" v="6" actId="14100"/>
          <ac:picMkLst>
            <pc:docMk/>
            <pc:sldMk cId="2884306507" sldId="437"/>
            <ac:picMk id="5" creationId="{B99C1FB0-DA5F-4FEC-8DC7-ADB22823952A}"/>
          </ac:picMkLst>
        </pc:picChg>
        <pc:picChg chg="del">
          <ac:chgData name="Goni Olagua.Maria Andion" userId="S::andion.goni@salud.madrid.org::71f46b7c-4297-4e81-b482-7eb74ab1b8ea" providerId="AD" clId="Web-{B3B2384F-9EC7-4318-8129-951CC34FEB9F}" dt="2021-05-17T08:42:27.221" v="7"/>
          <ac:picMkLst>
            <pc:docMk/>
            <pc:sldMk cId="2884306507" sldId="437"/>
            <ac:picMk id="6" creationId="{24DB7B2F-D706-4B48-A327-E545C5A5BBD0}"/>
          </ac:picMkLst>
        </pc:picChg>
        <pc:picChg chg="mod">
          <ac:chgData name="Goni Olagua.Maria Andion" userId="S::andion.goni@salud.madrid.org::71f46b7c-4297-4e81-b482-7eb74ab1b8ea" providerId="AD" clId="Web-{B3B2384F-9EC7-4318-8129-951CC34FEB9F}" dt="2021-05-17T08:42:11.940" v="3" actId="1076"/>
          <ac:picMkLst>
            <pc:docMk/>
            <pc:sldMk cId="2884306507" sldId="437"/>
            <ac:picMk id="7" creationId="{97FB6931-865C-4A79-95D5-8D3388E51CCC}"/>
          </ac:picMkLst>
        </pc:picChg>
      </pc:sldChg>
      <pc:sldChg chg="modSp">
        <pc:chgData name="Goni Olagua.Maria Andion" userId="S::andion.goni@salud.madrid.org::71f46b7c-4297-4e81-b482-7eb74ab1b8ea" providerId="AD" clId="Web-{B3B2384F-9EC7-4318-8129-951CC34FEB9F}" dt="2021-05-17T08:41:14.954" v="1" actId="1076"/>
        <pc:sldMkLst>
          <pc:docMk/>
          <pc:sldMk cId="3148529584" sldId="491"/>
        </pc:sldMkLst>
        <pc:picChg chg="mod">
          <ac:chgData name="Goni Olagua.Maria Andion" userId="S::andion.goni@salud.madrid.org::71f46b7c-4297-4e81-b482-7eb74ab1b8ea" providerId="AD" clId="Web-{B3B2384F-9EC7-4318-8129-951CC34FEB9F}" dt="2021-05-17T08:41:14.954" v="1" actId="1076"/>
          <ac:picMkLst>
            <pc:docMk/>
            <pc:sldMk cId="3148529584" sldId="491"/>
            <ac:picMk id="3" creationId="{7D992F9E-2EFF-4130-B263-EC589661D272}"/>
          </ac:picMkLst>
        </pc:picChg>
      </pc:sldChg>
    </pc:docChg>
  </pc:docChgLst>
  <pc:docChgLst>
    <pc:chgData name="Notario Jimenez.Pilar" userId="S::pilar.notario@salud.madrid.org::42f8e95d-f2f8-41cf-a337-e1818d91ccaf" providerId="AD" clId="Web-{C272D056-9159-418D-99BD-0FE5B5F212BF}"/>
    <pc:docChg chg="modSld">
      <pc:chgData name="Notario Jimenez.Pilar" userId="S::pilar.notario@salud.madrid.org::42f8e95d-f2f8-41cf-a337-e1818d91ccaf" providerId="AD" clId="Web-{C272D056-9159-418D-99BD-0FE5B5F212BF}" dt="2021-05-17T11:59:02.756" v="62" actId="14100"/>
      <pc:docMkLst>
        <pc:docMk/>
      </pc:docMkLst>
      <pc:sldChg chg="addSp delSp modSp">
        <pc:chgData name="Notario Jimenez.Pilar" userId="S::pilar.notario@salud.madrid.org::42f8e95d-f2f8-41cf-a337-e1818d91ccaf" providerId="AD" clId="Web-{C272D056-9159-418D-99BD-0FE5B5F212BF}" dt="2021-05-17T11:59:02.756" v="62" actId="14100"/>
        <pc:sldMkLst>
          <pc:docMk/>
          <pc:sldMk cId="1139696230" sldId="439"/>
        </pc:sldMkLst>
        <pc:picChg chg="add del mod">
          <ac:chgData name="Notario Jimenez.Pilar" userId="S::pilar.notario@salud.madrid.org::42f8e95d-f2f8-41cf-a337-e1818d91ccaf" providerId="AD" clId="Web-{C272D056-9159-418D-99BD-0FE5B5F212BF}" dt="2021-05-17T11:54:12.091" v="41"/>
          <ac:picMkLst>
            <pc:docMk/>
            <pc:sldMk cId="1139696230" sldId="439"/>
            <ac:picMk id="3" creationId="{59D1EAA0-11D8-4C5A-94EE-E8CE03EB945E}"/>
          </ac:picMkLst>
        </pc:picChg>
        <pc:picChg chg="add del mod">
          <ac:chgData name="Notario Jimenez.Pilar" userId="S::pilar.notario@salud.madrid.org::42f8e95d-f2f8-41cf-a337-e1818d91ccaf" providerId="AD" clId="Web-{C272D056-9159-418D-99BD-0FE5B5F212BF}" dt="2021-05-17T11:53:58.246" v="36"/>
          <ac:picMkLst>
            <pc:docMk/>
            <pc:sldMk cId="1139696230" sldId="439"/>
            <ac:picMk id="4" creationId="{6E899B2B-4C53-4BF3-BCD2-5B31D6F58DCC}"/>
          </ac:picMkLst>
        </pc:picChg>
        <pc:picChg chg="add del mod">
          <ac:chgData name="Notario Jimenez.Pilar" userId="S::pilar.notario@salud.madrid.org::42f8e95d-f2f8-41cf-a337-e1818d91ccaf" providerId="AD" clId="Web-{C272D056-9159-418D-99BD-0FE5B5F212BF}" dt="2021-05-17T11:53:53.793" v="34"/>
          <ac:picMkLst>
            <pc:docMk/>
            <pc:sldMk cId="1139696230" sldId="439"/>
            <ac:picMk id="5" creationId="{2DC6CD5B-9CD8-4CD9-934D-FE40F1F7DD18}"/>
          </ac:picMkLst>
        </pc:picChg>
        <pc:picChg chg="add del mod">
          <ac:chgData name="Notario Jimenez.Pilar" userId="S::pilar.notario@salud.madrid.org::42f8e95d-f2f8-41cf-a337-e1818d91ccaf" providerId="AD" clId="Web-{C272D056-9159-418D-99BD-0FE5B5F212BF}" dt="2021-05-17T11:53:44.777" v="30"/>
          <ac:picMkLst>
            <pc:docMk/>
            <pc:sldMk cId="1139696230" sldId="439"/>
            <ac:picMk id="6" creationId="{734B5FA4-BA22-45A2-A813-3CDABF176410}"/>
          </ac:picMkLst>
        </pc:picChg>
        <pc:picChg chg="add mod">
          <ac:chgData name="Notario Jimenez.Pilar" userId="S::pilar.notario@salud.madrid.org::42f8e95d-f2f8-41cf-a337-e1818d91ccaf" providerId="AD" clId="Web-{C272D056-9159-418D-99BD-0FE5B5F212BF}" dt="2021-05-17T11:58:33.160" v="52" actId="14100"/>
          <ac:picMkLst>
            <pc:docMk/>
            <pc:sldMk cId="1139696230" sldId="439"/>
            <ac:picMk id="7" creationId="{67581195-F50E-4F9D-9CAA-F43E45CBFB5D}"/>
          </ac:picMkLst>
        </pc:picChg>
        <pc:picChg chg="add mod ord">
          <ac:chgData name="Notario Jimenez.Pilar" userId="S::pilar.notario@salud.madrid.org::42f8e95d-f2f8-41cf-a337-e1818d91ccaf" providerId="AD" clId="Web-{C272D056-9159-418D-99BD-0FE5B5F212BF}" dt="2021-05-17T11:58:59.865" v="61" actId="1076"/>
          <ac:picMkLst>
            <pc:docMk/>
            <pc:sldMk cId="1139696230" sldId="439"/>
            <ac:picMk id="8" creationId="{131C71E4-CF57-46DC-80B0-C2F9DCCE2631}"/>
          </ac:picMkLst>
        </pc:picChg>
        <pc:picChg chg="add mod">
          <ac:chgData name="Notario Jimenez.Pilar" userId="S::pilar.notario@salud.madrid.org::42f8e95d-f2f8-41cf-a337-e1818d91ccaf" providerId="AD" clId="Web-{C272D056-9159-418D-99BD-0FE5B5F212BF}" dt="2021-05-17T11:58:50.271" v="57" actId="1076"/>
          <ac:picMkLst>
            <pc:docMk/>
            <pc:sldMk cId="1139696230" sldId="439"/>
            <ac:picMk id="13" creationId="{4F5B5023-DB77-44C8-B5F0-61083EB382A3}"/>
          </ac:picMkLst>
        </pc:picChg>
        <pc:picChg chg="add del mod ord">
          <ac:chgData name="Notario Jimenez.Pilar" userId="S::pilar.notario@salud.madrid.org::42f8e95d-f2f8-41cf-a337-e1818d91ccaf" providerId="AD" clId="Web-{C272D056-9159-418D-99BD-0FE5B5F212BF}" dt="2021-05-17T11:59:02.756" v="62" actId="14100"/>
          <ac:picMkLst>
            <pc:docMk/>
            <pc:sldMk cId="1139696230" sldId="439"/>
            <ac:picMk id="18" creationId="{00000000-0000-0000-0000-000000000000}"/>
          </ac:picMkLst>
        </pc:picChg>
      </pc:sldChg>
    </pc:docChg>
  </pc:docChgLst>
  <pc:docChgLst>
    <pc:chgData name="Rivas Clemente.Francisco" userId="S::francisco.rivas@salud.madrid.org::53008126-3cca-415d-b53a-872ecfd55398" providerId="AD" clId="Web-{33046278-9574-4EB5-BCD1-4E8BA20214C2}"/>
    <pc:docChg chg="modSld">
      <pc:chgData name="Rivas Clemente.Francisco" userId="S::francisco.rivas@salud.madrid.org::53008126-3cca-415d-b53a-872ecfd55398" providerId="AD" clId="Web-{33046278-9574-4EB5-BCD1-4E8BA20214C2}" dt="2021-05-14T10:15:00.380" v="269" actId="1076"/>
      <pc:docMkLst>
        <pc:docMk/>
      </pc:docMkLst>
      <pc:sldChg chg="modSp">
        <pc:chgData name="Rivas Clemente.Francisco" userId="S::francisco.rivas@salud.madrid.org::53008126-3cca-415d-b53a-872ecfd55398" providerId="AD" clId="Web-{33046278-9574-4EB5-BCD1-4E8BA20214C2}" dt="2021-05-14T10:15:00.380" v="269" actId="1076"/>
        <pc:sldMkLst>
          <pc:docMk/>
          <pc:sldMk cId="1410123347" sldId="492"/>
        </pc:sldMkLst>
        <pc:spChg chg="mod">
          <ac:chgData name="Rivas Clemente.Francisco" userId="S::francisco.rivas@salud.madrid.org::53008126-3cca-415d-b53a-872ecfd55398" providerId="AD" clId="Web-{33046278-9574-4EB5-BCD1-4E8BA20214C2}" dt="2021-05-14T10:15:00.380" v="269" actId="1076"/>
          <ac:spMkLst>
            <pc:docMk/>
            <pc:sldMk cId="1410123347" sldId="492"/>
            <ac:spMk id="3" creationId="{D54C683A-76B8-4B1D-A3A7-2E0B7B1BC1F1}"/>
          </ac:spMkLst>
        </pc:spChg>
      </pc:sldChg>
    </pc:docChg>
  </pc:docChgLst>
  <pc:docChgLst>
    <pc:chgData name="Goni Olagua.Maria Andion" userId="S::andion.goni@salud.madrid.org::71f46b7c-4297-4e81-b482-7eb74ab1b8ea" providerId="AD" clId="Web-{7ADB1301-3EAF-4720-8C98-91F61F708FD0}"/>
    <pc:docChg chg="modSld">
      <pc:chgData name="Goni Olagua.Maria Andion" userId="S::andion.goni@salud.madrid.org::71f46b7c-4297-4e81-b482-7eb74ab1b8ea" providerId="AD" clId="Web-{7ADB1301-3EAF-4720-8C98-91F61F708FD0}" dt="2021-05-12T16:25:02.886" v="34" actId="20577"/>
      <pc:docMkLst>
        <pc:docMk/>
      </pc:docMkLst>
      <pc:sldChg chg="modSp">
        <pc:chgData name="Goni Olagua.Maria Andion" userId="S::andion.goni@salud.madrid.org::71f46b7c-4297-4e81-b482-7eb74ab1b8ea" providerId="AD" clId="Web-{7ADB1301-3EAF-4720-8C98-91F61F708FD0}" dt="2021-05-12T16:25:02.886" v="34" actId="20577"/>
        <pc:sldMkLst>
          <pc:docMk/>
          <pc:sldMk cId="2884306507" sldId="437"/>
        </pc:sldMkLst>
        <pc:spChg chg="mod">
          <ac:chgData name="Goni Olagua.Maria Andion" userId="S::andion.goni@salud.madrid.org::71f46b7c-4297-4e81-b482-7eb74ab1b8ea" providerId="AD" clId="Web-{7ADB1301-3EAF-4720-8C98-91F61F708FD0}" dt="2021-05-12T16:25:02.886" v="34" actId="20577"/>
          <ac:spMkLst>
            <pc:docMk/>
            <pc:sldMk cId="2884306507" sldId="437"/>
            <ac:spMk id="24" creationId="{00000000-0000-0000-0000-000000000000}"/>
          </ac:spMkLst>
        </pc:spChg>
      </pc:sldChg>
      <pc:sldChg chg="modSp">
        <pc:chgData name="Goni Olagua.Maria Andion" userId="S::andion.goni@salud.madrid.org::71f46b7c-4297-4e81-b482-7eb74ab1b8ea" providerId="AD" clId="Web-{7ADB1301-3EAF-4720-8C98-91F61F708FD0}" dt="2021-05-12T16:14:55.293" v="4" actId="1076"/>
        <pc:sldMkLst>
          <pc:docMk/>
          <pc:sldMk cId="3148529584" sldId="491"/>
        </pc:sldMkLst>
        <pc:spChg chg="mod">
          <ac:chgData name="Goni Olagua.Maria Andion" userId="S::andion.goni@salud.madrid.org::71f46b7c-4297-4e81-b482-7eb74ab1b8ea" providerId="AD" clId="Web-{7ADB1301-3EAF-4720-8C98-91F61F708FD0}" dt="2021-05-12T16:14:52.121" v="2" actId="20577"/>
          <ac:spMkLst>
            <pc:docMk/>
            <pc:sldMk cId="3148529584" sldId="491"/>
            <ac:spMk id="9" creationId="{00000000-0000-0000-0000-000000000000}"/>
          </ac:spMkLst>
        </pc:spChg>
        <pc:picChg chg="mod">
          <ac:chgData name="Goni Olagua.Maria Andion" userId="S::andion.goni@salud.madrid.org::71f46b7c-4297-4e81-b482-7eb74ab1b8ea" providerId="AD" clId="Web-{7ADB1301-3EAF-4720-8C98-91F61F708FD0}" dt="2021-05-12T16:14:53.840" v="3" actId="1076"/>
          <ac:picMkLst>
            <pc:docMk/>
            <pc:sldMk cId="3148529584" sldId="491"/>
            <ac:picMk id="4" creationId="{988C2F19-4967-4F20-B467-A522730E82B2}"/>
          </ac:picMkLst>
        </pc:picChg>
        <pc:picChg chg="mod">
          <ac:chgData name="Goni Olagua.Maria Andion" userId="S::andion.goni@salud.madrid.org::71f46b7c-4297-4e81-b482-7eb74ab1b8ea" providerId="AD" clId="Web-{7ADB1301-3EAF-4720-8C98-91F61F708FD0}" dt="2021-05-12T16:14:55.293" v="4" actId="1076"/>
          <ac:picMkLst>
            <pc:docMk/>
            <pc:sldMk cId="3148529584" sldId="491"/>
            <ac:picMk id="5" creationId="{A08C4BB1-E03E-4D8E-8EC7-9C3510548C5A}"/>
          </ac:picMkLst>
        </pc:picChg>
      </pc:sldChg>
    </pc:docChg>
  </pc:docChgLst>
  <pc:docChgLst>
    <pc:chgData name="Serrano Balazote.Pablo" userId="S::pserranob@salud.madrid.org::f19bdf34-62ef-43e8-af0d-ec8e2d825cc6" providerId="AD" clId="Web-{833029F3-0801-4C6A-BE43-279D7ADACFDE}"/>
    <pc:docChg chg="modSld">
      <pc:chgData name="Serrano Balazote.Pablo" userId="S::pserranob@salud.madrid.org::f19bdf34-62ef-43e8-af0d-ec8e2d825cc6" providerId="AD" clId="Web-{833029F3-0801-4C6A-BE43-279D7ADACFDE}" dt="2021-05-17T16:25:43.187" v="129" actId="1076"/>
      <pc:docMkLst>
        <pc:docMk/>
      </pc:docMkLst>
      <pc:sldChg chg="addSp delSp modSp">
        <pc:chgData name="Serrano Balazote.Pablo" userId="S::pserranob@salud.madrid.org::f19bdf34-62ef-43e8-af0d-ec8e2d825cc6" providerId="AD" clId="Web-{833029F3-0801-4C6A-BE43-279D7ADACFDE}" dt="2021-05-17T16:17:54.506" v="81" actId="1076"/>
        <pc:sldMkLst>
          <pc:docMk/>
          <pc:sldMk cId="3954433576" sldId="412"/>
        </pc:sldMkLst>
        <pc:spChg chg="mod">
          <ac:chgData name="Serrano Balazote.Pablo" userId="S::pserranob@salud.madrid.org::f19bdf34-62ef-43e8-af0d-ec8e2d825cc6" providerId="AD" clId="Web-{833029F3-0801-4C6A-BE43-279D7ADACFDE}" dt="2021-05-17T16:13:49.875" v="75" actId="20577"/>
          <ac:spMkLst>
            <pc:docMk/>
            <pc:sldMk cId="3954433576" sldId="412"/>
            <ac:spMk id="7" creationId="{00000000-0000-0000-0000-000000000000}"/>
          </ac:spMkLst>
        </pc:spChg>
        <pc:picChg chg="add mod">
          <ac:chgData name="Serrano Balazote.Pablo" userId="S::pserranob@salud.madrid.org::f19bdf34-62ef-43e8-af0d-ec8e2d825cc6" providerId="AD" clId="Web-{833029F3-0801-4C6A-BE43-279D7ADACFDE}" dt="2021-05-17T16:17:52.787" v="80" actId="1076"/>
          <ac:picMkLst>
            <pc:docMk/>
            <pc:sldMk cId="3954433576" sldId="412"/>
            <ac:picMk id="3" creationId="{CFA52C27-3EAB-42F2-81E8-D4FCC9090E00}"/>
          </ac:picMkLst>
        </pc:picChg>
        <pc:picChg chg="add mod">
          <ac:chgData name="Serrano Balazote.Pablo" userId="S::pserranob@salud.madrid.org::f19bdf34-62ef-43e8-af0d-ec8e2d825cc6" providerId="AD" clId="Web-{833029F3-0801-4C6A-BE43-279D7ADACFDE}" dt="2021-05-17T16:17:54.506" v="81" actId="1076"/>
          <ac:picMkLst>
            <pc:docMk/>
            <pc:sldMk cId="3954433576" sldId="412"/>
            <ac:picMk id="4" creationId="{93965DE2-F63E-4B04-B219-DDA733F8323C}"/>
          </ac:picMkLst>
        </pc:picChg>
        <pc:picChg chg="del">
          <ac:chgData name="Serrano Balazote.Pablo" userId="S::pserranob@salud.madrid.org::f19bdf34-62ef-43e8-af0d-ec8e2d825cc6" providerId="AD" clId="Web-{833029F3-0801-4C6A-BE43-279D7ADACFDE}" dt="2021-05-17T16:11:53.326" v="57"/>
          <ac:picMkLst>
            <pc:docMk/>
            <pc:sldMk cId="3954433576" sldId="412"/>
            <ac:picMk id="12" creationId="{00000000-0000-0000-0000-000000000000}"/>
          </ac:picMkLst>
        </pc:picChg>
      </pc:sldChg>
      <pc:sldChg chg="addSp delSp modSp">
        <pc:chgData name="Serrano Balazote.Pablo" userId="S::pserranob@salud.madrid.org::f19bdf34-62ef-43e8-af0d-ec8e2d825cc6" providerId="AD" clId="Web-{833029F3-0801-4C6A-BE43-279D7ADACFDE}" dt="2021-05-17T16:25:43.187" v="129" actId="1076"/>
        <pc:sldMkLst>
          <pc:docMk/>
          <pc:sldMk cId="600415751" sldId="471"/>
        </pc:sldMkLst>
        <pc:spChg chg="mod">
          <ac:chgData name="Serrano Balazote.Pablo" userId="S::pserranob@salud.madrid.org::f19bdf34-62ef-43e8-af0d-ec8e2d825cc6" providerId="AD" clId="Web-{833029F3-0801-4C6A-BE43-279D7ADACFDE}" dt="2021-05-17T16:25:04.390" v="123" actId="20577"/>
          <ac:spMkLst>
            <pc:docMk/>
            <pc:sldMk cId="600415751" sldId="471"/>
            <ac:spMk id="17" creationId="{00000000-0000-0000-0000-000000000000}"/>
          </ac:spMkLst>
        </pc:spChg>
        <pc:graphicFrameChg chg="del">
          <ac:chgData name="Serrano Balazote.Pablo" userId="S::pserranob@salud.madrid.org::f19bdf34-62ef-43e8-af0d-ec8e2d825cc6" providerId="AD" clId="Web-{833029F3-0801-4C6A-BE43-279D7ADACFDE}" dt="2021-05-17T16:25:07.483" v="126"/>
          <ac:graphicFrameMkLst>
            <pc:docMk/>
            <pc:sldMk cId="600415751" sldId="471"/>
            <ac:graphicFrameMk id="9" creationId="{00000000-0000-0000-0000-000000000000}"/>
          </ac:graphicFrameMkLst>
        </pc:graphicFrameChg>
        <pc:picChg chg="del">
          <ac:chgData name="Serrano Balazote.Pablo" userId="S::pserranob@salud.madrid.org::f19bdf34-62ef-43e8-af0d-ec8e2d825cc6" providerId="AD" clId="Web-{833029F3-0801-4C6A-BE43-279D7ADACFDE}" dt="2021-05-17T16:25:06.874" v="125"/>
          <ac:picMkLst>
            <pc:docMk/>
            <pc:sldMk cId="600415751" sldId="471"/>
            <ac:picMk id="3" creationId="{2B345870-B014-4D3B-892A-D9A30EB305CF}"/>
          </ac:picMkLst>
        </pc:picChg>
        <pc:picChg chg="add mod">
          <ac:chgData name="Serrano Balazote.Pablo" userId="S::pserranob@salud.madrid.org::f19bdf34-62ef-43e8-af0d-ec8e2d825cc6" providerId="AD" clId="Web-{833029F3-0801-4C6A-BE43-279D7ADACFDE}" dt="2021-05-17T16:25:43.187" v="129" actId="1076"/>
          <ac:picMkLst>
            <pc:docMk/>
            <pc:sldMk cId="600415751" sldId="471"/>
            <ac:picMk id="4" creationId="{D465B3F8-8150-4C88-8123-EE86B9179D6F}"/>
          </ac:picMkLst>
        </pc:picChg>
        <pc:picChg chg="del">
          <ac:chgData name="Serrano Balazote.Pablo" userId="S::pserranob@salud.madrid.org::f19bdf34-62ef-43e8-af0d-ec8e2d825cc6" providerId="AD" clId="Web-{833029F3-0801-4C6A-BE43-279D7ADACFDE}" dt="2021-05-17T16:25:08.062" v="127"/>
          <ac:picMkLst>
            <pc:docMk/>
            <pc:sldMk cId="600415751" sldId="471"/>
            <ac:picMk id="10" creationId="{00000000-0000-0000-0000-000000000000}"/>
          </ac:picMkLst>
        </pc:picChg>
        <pc:picChg chg="del">
          <ac:chgData name="Serrano Balazote.Pablo" userId="S::pserranob@salud.madrid.org::f19bdf34-62ef-43e8-af0d-ec8e2d825cc6" providerId="AD" clId="Web-{833029F3-0801-4C6A-BE43-279D7ADACFDE}" dt="2021-05-17T16:25:06.124" v="124"/>
          <ac:picMkLst>
            <pc:docMk/>
            <pc:sldMk cId="600415751" sldId="471"/>
            <ac:picMk id="15" creationId="{00000000-0000-0000-0000-000000000000}"/>
          </ac:picMkLst>
        </pc:picChg>
      </pc:sldChg>
    </pc:docChg>
  </pc:docChgLst>
  <pc:docChgLst>
    <pc:chgData name="Artillo Rembado.Santiago" userId="S::santiago.artillo@salud.madrid.org::6244e493-5f21-41da-a4a5-7e8a1da26d14" providerId="AD" clId="Web-{8B597AEC-C697-4DCC-8F52-7415D166C362}"/>
    <pc:docChg chg="addSld modSld">
      <pc:chgData name="Artillo Rembado.Santiago" userId="S::santiago.artillo@salud.madrid.org::6244e493-5f21-41da-a4a5-7e8a1da26d14" providerId="AD" clId="Web-{8B597AEC-C697-4DCC-8F52-7415D166C362}" dt="2021-05-17T17:49:20.926" v="87" actId="20577"/>
      <pc:docMkLst>
        <pc:docMk/>
      </pc:docMkLst>
      <pc:sldChg chg="delSp modSp add replId">
        <pc:chgData name="Artillo Rembado.Santiago" userId="S::santiago.artillo@salud.madrid.org::6244e493-5f21-41da-a4a5-7e8a1da26d14" providerId="AD" clId="Web-{8B597AEC-C697-4DCC-8F52-7415D166C362}" dt="2021-05-17T17:49:20.926" v="87" actId="20577"/>
        <pc:sldMkLst>
          <pc:docMk/>
          <pc:sldMk cId="310631497" sldId="498"/>
        </pc:sldMkLst>
        <pc:spChg chg="mod">
          <ac:chgData name="Artillo Rembado.Santiago" userId="S::santiago.artillo@salud.madrid.org::6244e493-5f21-41da-a4a5-7e8a1da26d14" providerId="AD" clId="Web-{8B597AEC-C697-4DCC-8F52-7415D166C362}" dt="2021-05-17T17:44:34.841" v="67" actId="14100"/>
          <ac:spMkLst>
            <pc:docMk/>
            <pc:sldMk cId="310631497" sldId="498"/>
            <ac:spMk id="7" creationId="{00000000-0000-0000-0000-000000000000}"/>
          </ac:spMkLst>
        </pc:spChg>
        <pc:spChg chg="mod">
          <ac:chgData name="Artillo Rembado.Santiago" userId="S::santiago.artillo@salud.madrid.org::6244e493-5f21-41da-a4a5-7e8a1da26d14" providerId="AD" clId="Web-{8B597AEC-C697-4DCC-8F52-7415D166C362}" dt="2021-05-17T17:49:20.926" v="87" actId="20577"/>
          <ac:spMkLst>
            <pc:docMk/>
            <pc:sldMk cId="310631497" sldId="498"/>
            <ac:spMk id="9" creationId="{00000000-0000-0000-0000-000000000000}"/>
          </ac:spMkLst>
        </pc:spChg>
        <pc:spChg chg="mod">
          <ac:chgData name="Artillo Rembado.Santiago" userId="S::santiago.artillo@salud.madrid.org::6244e493-5f21-41da-a4a5-7e8a1da26d14" providerId="AD" clId="Web-{8B597AEC-C697-4DCC-8F52-7415D166C362}" dt="2021-05-17T17:39:44.944" v="3" actId="20577"/>
          <ac:spMkLst>
            <pc:docMk/>
            <pc:sldMk cId="310631497" sldId="498"/>
            <ac:spMk id="10" creationId="{00000000-0000-0000-0000-000000000000}"/>
          </ac:spMkLst>
        </pc:spChg>
        <pc:grpChg chg="mod">
          <ac:chgData name="Artillo Rembado.Santiago" userId="S::santiago.artillo@salud.madrid.org::6244e493-5f21-41da-a4a5-7e8a1da26d14" providerId="AD" clId="Web-{8B597AEC-C697-4DCC-8F52-7415D166C362}" dt="2021-05-17T17:48:38.050" v="78" actId="1076"/>
          <ac:grpSpMkLst>
            <pc:docMk/>
            <pc:sldMk cId="310631497" sldId="498"/>
            <ac:grpSpMk id="3" creationId="{00000000-0000-0000-0000-000000000000}"/>
          </ac:grpSpMkLst>
        </pc:grpChg>
        <pc:grpChg chg="mod">
          <ac:chgData name="Artillo Rembado.Santiago" userId="S::santiago.artillo@salud.madrid.org::6244e493-5f21-41da-a4a5-7e8a1da26d14" providerId="AD" clId="Web-{8B597AEC-C697-4DCC-8F52-7415D166C362}" dt="2021-05-17T17:40:35.257" v="12" actId="1076"/>
          <ac:grpSpMkLst>
            <pc:docMk/>
            <pc:sldMk cId="310631497" sldId="498"/>
            <ac:grpSpMk id="5" creationId="{00000000-0000-0000-0000-000000000000}"/>
          </ac:grpSpMkLst>
        </pc:grpChg>
        <pc:picChg chg="del">
          <ac:chgData name="Artillo Rembado.Santiago" userId="S::santiago.artillo@salud.madrid.org::6244e493-5f21-41da-a4a5-7e8a1da26d14" providerId="AD" clId="Web-{8B597AEC-C697-4DCC-8F52-7415D166C362}" dt="2021-05-17T17:40:17.460" v="8"/>
          <ac:picMkLst>
            <pc:docMk/>
            <pc:sldMk cId="310631497" sldId="498"/>
            <ac:picMk id="14" creationId="{00000000-0000-0000-0000-000000000000}"/>
          </ac:picMkLst>
        </pc:picChg>
        <pc:cxnChg chg="mod">
          <ac:chgData name="Artillo Rembado.Santiago" userId="S::santiago.artillo@salud.madrid.org::6244e493-5f21-41da-a4a5-7e8a1da26d14" providerId="AD" clId="Web-{8B597AEC-C697-4DCC-8F52-7415D166C362}" dt="2021-05-17T17:49:02.003" v="79" actId="1076"/>
          <ac:cxnSpMkLst>
            <pc:docMk/>
            <pc:sldMk cId="310631497" sldId="498"/>
            <ac:cxnSpMk id="4" creationId="{00000000-0000-0000-0000-000000000000}"/>
          </ac:cxnSpMkLst>
        </pc:cxnChg>
      </pc:sldChg>
    </pc:docChg>
  </pc:docChgLst>
  <pc:docChgLst>
    <pc:chgData name="Goni Olagua.Maria Andion" userId="S::andion.goni@salud.madrid.org::71f46b7c-4297-4e81-b482-7eb74ab1b8ea" providerId="AD" clId="Web-{341294C8-0F0E-4B87-9AC5-2D6EDC764241}"/>
    <pc:docChg chg="modSld">
      <pc:chgData name="Goni Olagua.Maria Andion" userId="S::andion.goni@salud.madrid.org::71f46b7c-4297-4e81-b482-7eb74ab1b8ea" providerId="AD" clId="Web-{341294C8-0F0E-4B87-9AC5-2D6EDC764241}" dt="2021-05-17T08:44:01.584" v="33" actId="1076"/>
      <pc:docMkLst>
        <pc:docMk/>
      </pc:docMkLst>
      <pc:sldChg chg="addSp modSp">
        <pc:chgData name="Goni Olagua.Maria Andion" userId="S::andion.goni@salud.madrid.org::71f46b7c-4297-4e81-b482-7eb74ab1b8ea" providerId="AD" clId="Web-{341294C8-0F0E-4B87-9AC5-2D6EDC764241}" dt="2021-05-17T08:44:01.584" v="33" actId="1076"/>
        <pc:sldMkLst>
          <pc:docMk/>
          <pc:sldMk cId="2884306507" sldId="437"/>
        </pc:sldMkLst>
        <pc:picChg chg="mod">
          <ac:chgData name="Goni Olagua.Maria Andion" userId="S::andion.goni@salud.madrid.org::71f46b7c-4297-4e81-b482-7eb74ab1b8ea" providerId="AD" clId="Web-{341294C8-0F0E-4B87-9AC5-2D6EDC764241}" dt="2021-05-17T08:43:42.318" v="26" actId="1076"/>
          <ac:picMkLst>
            <pc:docMk/>
            <pc:sldMk cId="2884306507" sldId="437"/>
            <ac:picMk id="4" creationId="{729BB9DF-D04F-4CD4-8C51-59D4B7A442D1}"/>
          </ac:picMkLst>
        </pc:picChg>
        <pc:picChg chg="add mod">
          <ac:chgData name="Goni Olagua.Maria Andion" userId="S::andion.goni@salud.madrid.org::71f46b7c-4297-4e81-b482-7eb74ab1b8ea" providerId="AD" clId="Web-{341294C8-0F0E-4B87-9AC5-2D6EDC764241}" dt="2021-05-17T08:44:01.584" v="33" actId="1076"/>
          <ac:picMkLst>
            <pc:docMk/>
            <pc:sldMk cId="2884306507" sldId="437"/>
            <ac:picMk id="8" creationId="{20B36E40-E77E-4CFB-AB3D-E82DD00A4029}"/>
          </ac:picMkLst>
        </pc:picChg>
        <pc:picChg chg="add mod">
          <ac:chgData name="Goni Olagua.Maria Andion" userId="S::andion.goni@salud.madrid.org::71f46b7c-4297-4e81-b482-7eb74ab1b8ea" providerId="AD" clId="Web-{341294C8-0F0E-4B87-9AC5-2D6EDC764241}" dt="2021-05-17T08:44:00.084" v="32" actId="1076"/>
          <ac:picMkLst>
            <pc:docMk/>
            <pc:sldMk cId="2884306507" sldId="437"/>
            <ac:picMk id="9" creationId="{14B6DF81-916D-442F-83FC-40685DDF704D}"/>
          </ac:picMkLst>
        </pc:picChg>
      </pc:sldChg>
      <pc:sldChg chg="addSp modSp">
        <pc:chgData name="Goni Olagua.Maria Andion" userId="S::andion.goni@salud.madrid.org::71f46b7c-4297-4e81-b482-7eb74ab1b8ea" providerId="AD" clId="Web-{341294C8-0F0E-4B87-9AC5-2D6EDC764241}" dt="2021-05-17T08:40:30.447" v="14" actId="1076"/>
        <pc:sldMkLst>
          <pc:docMk/>
          <pc:sldMk cId="3148529584" sldId="491"/>
        </pc:sldMkLst>
        <pc:picChg chg="add mod">
          <ac:chgData name="Goni Olagua.Maria Andion" userId="S::andion.goni@salud.madrid.org::71f46b7c-4297-4e81-b482-7eb74ab1b8ea" providerId="AD" clId="Web-{341294C8-0F0E-4B87-9AC5-2D6EDC764241}" dt="2021-05-17T08:40:30.447" v="14" actId="1076"/>
          <ac:picMkLst>
            <pc:docMk/>
            <pc:sldMk cId="3148529584" sldId="491"/>
            <ac:picMk id="4" creationId="{FC1BDCB4-3023-456F-A2D8-28F95F6BB478}"/>
          </ac:picMkLst>
        </pc:picChg>
        <pc:picChg chg="mod">
          <ac:chgData name="Goni Olagua.Maria Andion" userId="S::andion.goni@salud.madrid.org::71f46b7c-4297-4e81-b482-7eb74ab1b8ea" providerId="AD" clId="Web-{341294C8-0F0E-4B87-9AC5-2D6EDC764241}" dt="2021-05-17T08:40:29.181" v="13" actId="1076"/>
          <ac:picMkLst>
            <pc:docMk/>
            <pc:sldMk cId="3148529584" sldId="491"/>
            <ac:picMk id="6" creationId="{867B4348-7549-445A-AD7C-56C33FD6883D}"/>
          </ac:picMkLst>
        </pc:picChg>
      </pc:sldChg>
    </pc:docChg>
  </pc:docChgLst>
  <pc:docChgLst>
    <pc:chgData name="Moliner Robredo.Concepcion" userId="S::concepcion.moliner@salud.madrid.org::facab1fd-d934-429f-86e8-44a6c3460189" providerId="AD" clId="Web-{C57481C9-8BE7-4C89-AC92-293AEC599613}"/>
    <pc:docChg chg="modSld">
      <pc:chgData name="Moliner Robredo.Concepcion" userId="S::concepcion.moliner@salud.madrid.org::facab1fd-d934-429f-86e8-44a6c3460189" providerId="AD" clId="Web-{C57481C9-8BE7-4C89-AC92-293AEC599613}" dt="2021-05-17T06:13:25.733" v="47" actId="20577"/>
      <pc:docMkLst>
        <pc:docMk/>
      </pc:docMkLst>
      <pc:sldChg chg="modSp">
        <pc:chgData name="Moliner Robredo.Concepcion" userId="S::concepcion.moliner@salud.madrid.org::facab1fd-d934-429f-86e8-44a6c3460189" providerId="AD" clId="Web-{C57481C9-8BE7-4C89-AC92-293AEC599613}" dt="2021-05-17T06:13:25.733" v="47" actId="20577"/>
        <pc:sldMkLst>
          <pc:docMk/>
          <pc:sldMk cId="4187902526" sldId="440"/>
        </pc:sldMkLst>
        <pc:spChg chg="mod">
          <ac:chgData name="Moliner Robredo.Concepcion" userId="S::concepcion.moliner@salud.madrid.org::facab1fd-d934-429f-86e8-44a6c3460189" providerId="AD" clId="Web-{C57481C9-8BE7-4C89-AC92-293AEC599613}" dt="2021-05-17T06:13:25.733" v="47" actId="20577"/>
          <ac:spMkLst>
            <pc:docMk/>
            <pc:sldMk cId="4187902526" sldId="440"/>
            <ac:spMk id="11" creationId="{00000000-0000-0000-0000-000000000000}"/>
          </ac:spMkLst>
        </pc:spChg>
      </pc:sldChg>
    </pc:docChg>
  </pc:docChgLst>
  <pc:docChgLst>
    <pc:chgData name="Moliner Robredo.Concepcion" userId="S::concepcion.moliner@salud.madrid.org::facab1fd-d934-429f-86e8-44a6c3460189" providerId="AD" clId="Web-{811A017D-8AA4-4348-9801-B87D8B195B19}"/>
    <pc:docChg chg="addSld delSld modSld sldOrd">
      <pc:chgData name="Moliner Robredo.Concepcion" userId="S::concepcion.moliner@salud.madrid.org::facab1fd-d934-429f-86e8-44a6c3460189" providerId="AD" clId="Web-{811A017D-8AA4-4348-9801-B87D8B195B19}" dt="2021-05-15T22:44:01.323" v="122" actId="1076"/>
      <pc:docMkLst>
        <pc:docMk/>
      </pc:docMkLst>
      <pc:sldChg chg="ord">
        <pc:chgData name="Moliner Robredo.Concepcion" userId="S::concepcion.moliner@salud.madrid.org::facab1fd-d934-429f-86e8-44a6c3460189" providerId="AD" clId="Web-{811A017D-8AA4-4348-9801-B87D8B195B19}" dt="2021-05-15T22:15:58.724" v="0"/>
        <pc:sldMkLst>
          <pc:docMk/>
          <pc:sldMk cId="3384269162" sldId="384"/>
        </pc:sldMkLst>
      </pc:sldChg>
      <pc:sldChg chg="addSp delSp modSp">
        <pc:chgData name="Moliner Robredo.Concepcion" userId="S::concepcion.moliner@salud.madrid.org::facab1fd-d934-429f-86e8-44a6c3460189" providerId="AD" clId="Web-{811A017D-8AA4-4348-9801-B87D8B195B19}" dt="2021-05-15T22:42:23.111" v="116" actId="1076"/>
        <pc:sldMkLst>
          <pc:docMk/>
          <pc:sldMk cId="3170123120" sldId="411"/>
        </pc:sldMkLst>
        <pc:spChg chg="mod">
          <ac:chgData name="Moliner Robredo.Concepcion" userId="S::concepcion.moliner@salud.madrid.org::facab1fd-d934-429f-86e8-44a6c3460189" providerId="AD" clId="Web-{811A017D-8AA4-4348-9801-B87D8B195B19}" dt="2021-05-15T22:41:37.669" v="113" actId="20577"/>
          <ac:spMkLst>
            <pc:docMk/>
            <pc:sldMk cId="3170123120" sldId="411"/>
            <ac:spMk id="7" creationId="{00000000-0000-0000-0000-000000000000}"/>
          </ac:spMkLst>
        </pc:spChg>
        <pc:picChg chg="add del mod">
          <ac:chgData name="Moliner Robredo.Concepcion" userId="S::concepcion.moliner@salud.madrid.org::facab1fd-d934-429f-86e8-44a6c3460189" providerId="AD" clId="Web-{811A017D-8AA4-4348-9801-B87D8B195B19}" dt="2021-05-15T22:29:51.462" v="4"/>
          <ac:picMkLst>
            <pc:docMk/>
            <pc:sldMk cId="3170123120" sldId="411"/>
            <ac:picMk id="3" creationId="{EE73CC63-7CFE-41F7-BEAF-26851B860473}"/>
          </ac:picMkLst>
        </pc:picChg>
        <pc:picChg chg="add del mod">
          <ac:chgData name="Moliner Robredo.Concepcion" userId="S::concepcion.moliner@salud.madrid.org::facab1fd-d934-429f-86e8-44a6c3460189" providerId="AD" clId="Web-{811A017D-8AA4-4348-9801-B87D8B195B19}" dt="2021-05-15T22:32:14.117" v="17"/>
          <ac:picMkLst>
            <pc:docMk/>
            <pc:sldMk cId="3170123120" sldId="411"/>
            <ac:picMk id="4" creationId="{5B741245-288E-4617-AA35-4E712E5BB620}"/>
          </ac:picMkLst>
        </pc:picChg>
        <pc:picChg chg="add del mod">
          <ac:chgData name="Moliner Robredo.Concepcion" userId="S::concepcion.moliner@salud.madrid.org::facab1fd-d934-429f-86e8-44a6c3460189" providerId="AD" clId="Web-{811A017D-8AA4-4348-9801-B87D8B195B19}" dt="2021-05-15T22:35:13.680" v="26"/>
          <ac:picMkLst>
            <pc:docMk/>
            <pc:sldMk cId="3170123120" sldId="411"/>
            <ac:picMk id="5" creationId="{38A05AF6-DD2C-459B-96DB-5F52134D3DAD}"/>
          </ac:picMkLst>
        </pc:picChg>
        <pc:picChg chg="add mod">
          <ac:chgData name="Moliner Robredo.Concepcion" userId="S::concepcion.moliner@salud.madrid.org::facab1fd-d934-429f-86e8-44a6c3460189" providerId="AD" clId="Web-{811A017D-8AA4-4348-9801-B87D8B195B19}" dt="2021-05-15T22:40:03.832" v="78" actId="1076"/>
          <ac:picMkLst>
            <pc:docMk/>
            <pc:sldMk cId="3170123120" sldId="411"/>
            <ac:picMk id="6" creationId="{3A291740-C8A1-47E0-B76A-F0636975A63B}"/>
          </ac:picMkLst>
        </pc:picChg>
        <pc:picChg chg="mod">
          <ac:chgData name="Moliner Robredo.Concepcion" userId="S::concepcion.moliner@salud.madrid.org::facab1fd-d934-429f-86e8-44a6c3460189" providerId="AD" clId="Web-{811A017D-8AA4-4348-9801-B87D8B195B19}" dt="2021-05-15T22:38:30.636" v="31" actId="1076"/>
          <ac:picMkLst>
            <pc:docMk/>
            <pc:sldMk cId="3170123120" sldId="411"/>
            <ac:picMk id="8" creationId="{00000000-0000-0000-0000-000000000000}"/>
          </ac:picMkLst>
        </pc:picChg>
        <pc:picChg chg="add mod">
          <ac:chgData name="Moliner Robredo.Concepcion" userId="S::concepcion.moliner@salud.madrid.org::facab1fd-d934-429f-86e8-44a6c3460189" providerId="AD" clId="Web-{811A017D-8AA4-4348-9801-B87D8B195B19}" dt="2021-05-15T22:42:23.111" v="116" actId="1076"/>
          <ac:picMkLst>
            <pc:docMk/>
            <pc:sldMk cId="3170123120" sldId="411"/>
            <ac:picMk id="9" creationId="{22D032FF-D06C-4430-B14B-4FF4291434A8}"/>
          </ac:picMkLst>
        </pc:picChg>
        <pc:picChg chg="mod">
          <ac:chgData name="Moliner Robredo.Concepcion" userId="S::concepcion.moliner@salud.madrid.org::facab1fd-d934-429f-86e8-44a6c3460189" providerId="AD" clId="Web-{811A017D-8AA4-4348-9801-B87D8B195B19}" dt="2021-05-15T22:38:22.479" v="29" actId="1076"/>
          <ac:picMkLst>
            <pc:docMk/>
            <pc:sldMk cId="3170123120" sldId="411"/>
            <ac:picMk id="11" creationId="{00000000-0000-0000-0000-000000000000}"/>
          </ac:picMkLst>
        </pc:picChg>
        <pc:picChg chg="mod">
          <ac:chgData name="Moliner Robredo.Concepcion" userId="S::concepcion.moliner@salud.madrid.org::facab1fd-d934-429f-86e8-44a6c3460189" providerId="AD" clId="Web-{811A017D-8AA4-4348-9801-B87D8B195B19}" dt="2021-05-15T22:41:16.027" v="107" actId="1076"/>
          <ac:picMkLst>
            <pc:docMk/>
            <pc:sldMk cId="3170123120" sldId="411"/>
            <ac:picMk id="12" creationId="{00000000-0000-0000-0000-000000000000}"/>
          </ac:picMkLst>
        </pc:picChg>
        <pc:picChg chg="mod">
          <ac:chgData name="Moliner Robredo.Concepcion" userId="S::concepcion.moliner@salud.madrid.org::facab1fd-d934-429f-86e8-44a6c3460189" providerId="AD" clId="Web-{811A017D-8AA4-4348-9801-B87D8B195B19}" dt="2021-05-15T22:38:43.450" v="34" actId="1076"/>
          <ac:picMkLst>
            <pc:docMk/>
            <pc:sldMk cId="3170123120" sldId="411"/>
            <ac:picMk id="16" creationId="{00000000-0000-0000-0000-000000000000}"/>
          </ac:picMkLst>
        </pc:picChg>
        <pc:picChg chg="add del mod">
          <ac:chgData name="Moliner Robredo.Concepcion" userId="S::concepcion.moliner@salud.madrid.org::facab1fd-d934-429f-86e8-44a6c3460189" providerId="AD" clId="Web-{811A017D-8AA4-4348-9801-B87D8B195B19}" dt="2021-05-15T22:40:08.473" v="79" actId="14100"/>
          <ac:picMkLst>
            <pc:docMk/>
            <pc:sldMk cId="3170123120" sldId="411"/>
            <ac:picMk id="17" creationId="{00000000-0000-0000-0000-000000000000}"/>
          </ac:picMkLst>
        </pc:picChg>
      </pc:sldChg>
      <pc:sldChg chg="addSp delSp modSp">
        <pc:chgData name="Moliner Robredo.Concepcion" userId="S::concepcion.moliner@salud.madrid.org::facab1fd-d934-429f-86e8-44a6c3460189" providerId="AD" clId="Web-{811A017D-8AA4-4348-9801-B87D8B195B19}" dt="2021-05-15T22:44:01.323" v="122" actId="1076"/>
        <pc:sldMkLst>
          <pc:docMk/>
          <pc:sldMk cId="1429689360" sldId="423"/>
        </pc:sldMkLst>
        <pc:picChg chg="add mod">
          <ac:chgData name="Moliner Robredo.Concepcion" userId="S::concepcion.moliner@salud.madrid.org::facab1fd-d934-429f-86e8-44a6c3460189" providerId="AD" clId="Web-{811A017D-8AA4-4348-9801-B87D8B195B19}" dt="2021-05-15T22:44:01.323" v="122" actId="1076"/>
          <ac:picMkLst>
            <pc:docMk/>
            <pc:sldMk cId="1429689360" sldId="423"/>
            <ac:picMk id="3" creationId="{566982F3-B0D3-49C0-82DF-2936B549CF37}"/>
          </ac:picMkLst>
        </pc:picChg>
        <pc:picChg chg="del">
          <ac:chgData name="Moliner Robredo.Concepcion" userId="S::concepcion.moliner@salud.madrid.org::facab1fd-d934-429f-86e8-44a6c3460189" providerId="AD" clId="Web-{811A017D-8AA4-4348-9801-B87D8B195B19}" dt="2021-05-15T22:42:49.348" v="117"/>
          <ac:picMkLst>
            <pc:docMk/>
            <pc:sldMk cId="1429689360" sldId="423"/>
            <ac:picMk id="10" creationId="{00000000-0000-0000-0000-000000000000}"/>
          </ac:picMkLst>
        </pc:picChg>
      </pc:sldChg>
      <pc:sldChg chg="delSp modSp add del replId">
        <pc:chgData name="Moliner Robredo.Concepcion" userId="S::concepcion.moliner@salud.madrid.org::facab1fd-d934-429f-86e8-44a6c3460189" providerId="AD" clId="Web-{811A017D-8AA4-4348-9801-B87D8B195B19}" dt="2021-05-15T22:38:09.853" v="27"/>
        <pc:sldMkLst>
          <pc:docMk/>
          <pc:sldMk cId="998471917" sldId="497"/>
        </pc:sldMkLst>
        <pc:picChg chg="mod">
          <ac:chgData name="Moliner Robredo.Concepcion" userId="S::concepcion.moliner@salud.madrid.org::facab1fd-d934-429f-86e8-44a6c3460189" providerId="AD" clId="Web-{811A017D-8AA4-4348-9801-B87D8B195B19}" dt="2021-05-15T22:30:49.343" v="13" actId="14100"/>
          <ac:picMkLst>
            <pc:docMk/>
            <pc:sldMk cId="998471917" sldId="497"/>
            <ac:picMk id="4" creationId="{5B741245-288E-4617-AA35-4E712E5BB620}"/>
          </ac:picMkLst>
        </pc:picChg>
        <pc:picChg chg="del">
          <ac:chgData name="Moliner Robredo.Concepcion" userId="S::concepcion.moliner@salud.madrid.org::facab1fd-d934-429f-86e8-44a6c3460189" providerId="AD" clId="Web-{811A017D-8AA4-4348-9801-B87D8B195B19}" dt="2021-05-15T22:30:19.247" v="7"/>
          <ac:picMkLst>
            <pc:docMk/>
            <pc:sldMk cId="998471917" sldId="497"/>
            <ac:picMk id="8" creationId="{00000000-0000-0000-0000-000000000000}"/>
          </ac:picMkLst>
        </pc:picChg>
        <pc:picChg chg="del">
          <ac:chgData name="Moliner Robredo.Concepcion" userId="S::concepcion.moliner@salud.madrid.org::facab1fd-d934-429f-86e8-44a6c3460189" providerId="AD" clId="Web-{811A017D-8AA4-4348-9801-B87D8B195B19}" dt="2021-05-15T22:30:29.998" v="11"/>
          <ac:picMkLst>
            <pc:docMk/>
            <pc:sldMk cId="998471917" sldId="497"/>
            <ac:picMk id="11" creationId="{00000000-0000-0000-0000-000000000000}"/>
          </ac:picMkLst>
        </pc:picChg>
        <pc:picChg chg="del">
          <ac:chgData name="Moliner Robredo.Concepcion" userId="S::concepcion.moliner@salud.madrid.org::facab1fd-d934-429f-86e8-44a6c3460189" providerId="AD" clId="Web-{811A017D-8AA4-4348-9801-B87D8B195B19}" dt="2021-05-15T22:30:21.747" v="8"/>
          <ac:picMkLst>
            <pc:docMk/>
            <pc:sldMk cId="998471917" sldId="497"/>
            <ac:picMk id="12" creationId="{00000000-0000-0000-0000-000000000000}"/>
          </ac:picMkLst>
        </pc:picChg>
        <pc:picChg chg="del">
          <ac:chgData name="Moliner Robredo.Concepcion" userId="S::concepcion.moliner@salud.madrid.org::facab1fd-d934-429f-86e8-44a6c3460189" providerId="AD" clId="Web-{811A017D-8AA4-4348-9801-B87D8B195B19}" dt="2021-05-15T22:30:23.934" v="9"/>
          <ac:picMkLst>
            <pc:docMk/>
            <pc:sldMk cId="998471917" sldId="497"/>
            <ac:picMk id="16" creationId="{00000000-0000-0000-0000-000000000000}"/>
          </ac:picMkLst>
        </pc:picChg>
        <pc:picChg chg="del">
          <ac:chgData name="Moliner Robredo.Concepcion" userId="S::concepcion.moliner@salud.madrid.org::facab1fd-d934-429f-86e8-44a6c3460189" providerId="AD" clId="Web-{811A017D-8AA4-4348-9801-B87D8B195B19}" dt="2021-05-15T22:30:17.356" v="6"/>
          <ac:picMkLst>
            <pc:docMk/>
            <pc:sldMk cId="998471917" sldId="497"/>
            <ac:picMk id="17" creationId="{00000000-0000-0000-0000-000000000000}"/>
          </ac:picMkLst>
        </pc:picChg>
      </pc:sldChg>
    </pc:docChg>
  </pc:docChgLst>
  <pc:docChgLst>
    <pc:chgData name="Pose Becerra.Clotilde" userId="S::clotilde.pose@salud.madrid.org::23ce97dc-e3f5-40e5-974f-1a404fae3ec6" providerId="AD" clId="Web-{10516FB2-B7AC-4DB1-B93E-E4B911D29ED6}"/>
    <pc:docChg chg="modSld">
      <pc:chgData name="Pose Becerra.Clotilde" userId="S::clotilde.pose@salud.madrid.org::23ce97dc-e3f5-40e5-974f-1a404fae3ec6" providerId="AD" clId="Web-{10516FB2-B7AC-4DB1-B93E-E4B911D29ED6}" dt="2021-05-13T15:50:19.650" v="7" actId="14100"/>
      <pc:docMkLst>
        <pc:docMk/>
      </pc:docMkLst>
      <pc:sldChg chg="addSp delSp modSp">
        <pc:chgData name="Pose Becerra.Clotilde" userId="S::clotilde.pose@salud.madrid.org::23ce97dc-e3f5-40e5-974f-1a404fae3ec6" providerId="AD" clId="Web-{10516FB2-B7AC-4DB1-B93E-E4B911D29ED6}" dt="2021-05-13T15:50:19.650" v="7" actId="14100"/>
        <pc:sldMkLst>
          <pc:docMk/>
          <pc:sldMk cId="2085161481" sldId="424"/>
        </pc:sldMkLst>
        <pc:picChg chg="add mod">
          <ac:chgData name="Pose Becerra.Clotilde" userId="S::clotilde.pose@salud.madrid.org::23ce97dc-e3f5-40e5-974f-1a404fae3ec6" providerId="AD" clId="Web-{10516FB2-B7AC-4DB1-B93E-E4B911D29ED6}" dt="2021-05-13T15:50:19.650" v="7" actId="14100"/>
          <ac:picMkLst>
            <pc:docMk/>
            <pc:sldMk cId="2085161481" sldId="424"/>
            <ac:picMk id="3" creationId="{605643D2-CA79-42B5-904C-8F26628C350F}"/>
          </ac:picMkLst>
        </pc:picChg>
        <pc:picChg chg="del">
          <ac:chgData name="Pose Becerra.Clotilde" userId="S::clotilde.pose@salud.madrid.org::23ce97dc-e3f5-40e5-974f-1a404fae3ec6" providerId="AD" clId="Web-{10516FB2-B7AC-4DB1-B93E-E4B911D29ED6}" dt="2021-05-13T15:49:12.977" v="0"/>
          <ac:picMkLst>
            <pc:docMk/>
            <pc:sldMk cId="2085161481" sldId="424"/>
            <ac:picMk id="15" creationId="{00000000-0000-0000-0000-000000000000}"/>
          </ac:picMkLst>
        </pc:pic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Hoja_de_c_lculo_de_Microsoft_Excel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ndard"/>
        <c:varyColors val="0"/>
        <c:ser>
          <c:idx val="0"/>
          <c:order val="0"/>
          <c:tx>
            <c:strRef>
              <c:f>Hoja1!$B$1</c:f>
              <c:strCache>
                <c:ptCount val="1"/>
                <c:pt idx="0">
                  <c:v>OBJETIVO Desarrollo Global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diamond"/>
            <c:size val="5"/>
            <c:spPr>
              <a:solidFill>
                <a:schemeClr val="accent1"/>
              </a:solidFill>
              <a:ln w="9525">
                <a:solidFill>
                  <a:schemeClr val="accent1"/>
                </a:solidFill>
              </a:ln>
              <a:effectLst/>
            </c:spPr>
          </c:marker>
          <c:cat>
            <c:numRef>
              <c:f>Hoja1!$A$2:$A$6</c:f>
              <c:numCache>
                <c:formatCode>General</c:formatCode>
                <c:ptCount val="5"/>
                <c:pt idx="0">
                  <c:v>2015</c:v>
                </c:pt>
                <c:pt idx="1">
                  <c:v>2016</c:v>
                </c:pt>
                <c:pt idx="2">
                  <c:v>2017</c:v>
                </c:pt>
                <c:pt idx="3">
                  <c:v>2018</c:v>
                </c:pt>
                <c:pt idx="4">
                  <c:v>2019</c:v>
                </c:pt>
              </c:numCache>
            </c:numRef>
          </c:cat>
          <c:val>
            <c:numRef>
              <c:f>Hoja1!$B$2:$B$6</c:f>
              <c:numCache>
                <c:formatCode>0.00%</c:formatCode>
                <c:ptCount val="5"/>
                <c:pt idx="0">
                  <c:v>0.15459999999999999</c:v>
                </c:pt>
                <c:pt idx="1">
                  <c:v>0.38619999999999999</c:v>
                </c:pt>
                <c:pt idx="2">
                  <c:v>0.65449999999999997</c:v>
                </c:pt>
                <c:pt idx="3">
                  <c:v>0.85489999999999999</c:v>
                </c:pt>
                <c:pt idx="4" formatCode="0%">
                  <c:v>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413E-4BD1-9E2B-47222BD2323E}"/>
            </c:ext>
          </c:extLst>
        </c:ser>
        <c:ser>
          <c:idx val="1"/>
          <c:order val="1"/>
          <c:tx>
            <c:strRef>
              <c:f>Hoja1!$C$1</c:f>
              <c:strCache>
                <c:ptCount val="1"/>
                <c:pt idx="0">
                  <c:v>GRADO Desarrollo Global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diamond"/>
            <c:size val="5"/>
            <c:spPr>
              <a:solidFill>
                <a:schemeClr val="accent2"/>
              </a:solidFill>
              <a:ln w="9525">
                <a:solidFill>
                  <a:schemeClr val="accent2"/>
                </a:solidFill>
              </a:ln>
              <a:effectLst/>
            </c:spPr>
          </c:marker>
          <c:cat>
            <c:numRef>
              <c:f>Hoja1!$A$2:$A$6</c:f>
              <c:numCache>
                <c:formatCode>General</c:formatCode>
                <c:ptCount val="5"/>
                <c:pt idx="0">
                  <c:v>2015</c:v>
                </c:pt>
                <c:pt idx="1">
                  <c:v>2016</c:v>
                </c:pt>
                <c:pt idx="2">
                  <c:v>2017</c:v>
                </c:pt>
                <c:pt idx="3">
                  <c:v>2018</c:v>
                </c:pt>
                <c:pt idx="4">
                  <c:v>2019</c:v>
                </c:pt>
              </c:numCache>
            </c:numRef>
          </c:cat>
          <c:val>
            <c:numRef>
              <c:f>Hoja1!$C$2:$C$6</c:f>
              <c:numCache>
                <c:formatCode>0.00%</c:formatCode>
                <c:ptCount val="5"/>
                <c:pt idx="0">
                  <c:v>0.1057</c:v>
                </c:pt>
                <c:pt idx="1">
                  <c:v>0.35780000000000001</c:v>
                </c:pt>
                <c:pt idx="2">
                  <c:v>0.55369999999999997</c:v>
                </c:pt>
                <c:pt idx="3">
                  <c:v>0.80269999999999997</c:v>
                </c:pt>
                <c:pt idx="4" formatCode="0%">
                  <c:v>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413E-4BD1-9E2B-47222BD2323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42791984"/>
        <c:axId val="342790808"/>
      </c:lineChart>
      <c:catAx>
        <c:axId val="34279198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s-ES"/>
          </a:p>
        </c:txPr>
        <c:crossAx val="342790808"/>
        <c:crosses val="autoZero"/>
        <c:auto val="1"/>
        <c:lblAlgn val="ctr"/>
        <c:lblOffset val="100"/>
        <c:noMultiLvlLbl val="0"/>
      </c:catAx>
      <c:valAx>
        <c:axId val="342790808"/>
        <c:scaling>
          <c:orientation val="minMax"/>
          <c:max val="1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.0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s-ES"/>
          </a:p>
        </c:txPr>
        <c:crossAx val="34279198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s-E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s-E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/>
          <p:cNvSpPr>
            <a:spLocks noGrp="1"/>
          </p:cNvSpPr>
          <p:nvPr>
            <p:ph type="hdr" sz="quarter"/>
          </p:nvPr>
        </p:nvSpPr>
        <p:spPr>
          <a:xfrm>
            <a:off x="2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ES"/>
          </a:p>
        </p:txBody>
      </p:sp>
      <p:sp>
        <p:nvSpPr>
          <p:cNvPr id="3" name="Marcador de fecha 2"/>
          <p:cNvSpPr>
            <a:spLocks noGrp="1"/>
          </p:cNvSpPr>
          <p:nvPr>
            <p:ph type="dt" sz="quarter" idx="1"/>
          </p:nvPr>
        </p:nvSpPr>
        <p:spPr>
          <a:xfrm>
            <a:off x="3850445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7D841BB-9FC7-4A17-87B7-01BBE6DFFA29}" type="datetimeFigureOut">
              <a:rPr lang="es-ES" smtClean="0"/>
              <a:t>25/05/2021</a:t>
            </a:fld>
            <a:endParaRPr lang="es-ES"/>
          </a:p>
        </p:txBody>
      </p:sp>
      <p:sp>
        <p:nvSpPr>
          <p:cNvPr id="4" name="Marcador de pie de página 3"/>
          <p:cNvSpPr>
            <a:spLocks noGrp="1"/>
          </p:cNvSpPr>
          <p:nvPr>
            <p:ph type="ftr" sz="quarter" idx="2"/>
          </p:nvPr>
        </p:nvSpPr>
        <p:spPr>
          <a:xfrm>
            <a:off x="2" y="9428585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ES"/>
          </a:p>
        </p:txBody>
      </p:sp>
      <p:sp>
        <p:nvSpPr>
          <p:cNvPr id="5" name="Marcador de número de diapositiva 4"/>
          <p:cNvSpPr>
            <a:spLocks noGrp="1"/>
          </p:cNvSpPr>
          <p:nvPr>
            <p:ph type="sldNum" sz="quarter" idx="3"/>
          </p:nvPr>
        </p:nvSpPr>
        <p:spPr>
          <a:xfrm>
            <a:off x="3850445" y="9428585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E33AA88-BA21-4012-9E8E-F2CF19C4E9AD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9869745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/>
          <p:cNvSpPr>
            <a:spLocks noGrp="1"/>
          </p:cNvSpPr>
          <p:nvPr>
            <p:ph type="hdr" sz="quarter"/>
          </p:nvPr>
        </p:nvSpPr>
        <p:spPr>
          <a:xfrm>
            <a:off x="2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ES_tradnl"/>
          </a:p>
        </p:txBody>
      </p:sp>
      <p:sp>
        <p:nvSpPr>
          <p:cNvPr id="3" name="Marcador de fecha 2"/>
          <p:cNvSpPr>
            <a:spLocks noGrp="1"/>
          </p:cNvSpPr>
          <p:nvPr>
            <p:ph type="dt" idx="1"/>
          </p:nvPr>
        </p:nvSpPr>
        <p:spPr>
          <a:xfrm>
            <a:off x="3850445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748EA27-20A5-1C45-A232-4F839C245335}" type="datetimeFigureOut">
              <a:rPr lang="es-ES_tradnl" smtClean="0"/>
              <a:t>25/05/2021</a:t>
            </a:fld>
            <a:endParaRPr lang="es-ES_tradnl"/>
          </a:p>
        </p:txBody>
      </p:sp>
      <p:sp>
        <p:nvSpPr>
          <p:cNvPr id="4" name="Marcador de imagen d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981075" y="1241425"/>
            <a:ext cx="48355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s-ES_tradnl"/>
          </a:p>
        </p:txBody>
      </p:sp>
      <p:sp>
        <p:nvSpPr>
          <p:cNvPr id="5" name="Marcador de notas 4"/>
          <p:cNvSpPr>
            <a:spLocks noGrp="1"/>
          </p:cNvSpPr>
          <p:nvPr>
            <p:ph type="body" sz="quarter" idx="3"/>
          </p:nvPr>
        </p:nvSpPr>
        <p:spPr>
          <a:xfrm>
            <a:off x="679768" y="4777195"/>
            <a:ext cx="5438140" cy="390861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s-ES_tradnl"/>
              <a:t>Haga clic para modificar el estilo de texto del patrón</a:t>
            </a:r>
          </a:p>
          <a:p>
            <a:pPr lvl="1"/>
            <a:r>
              <a:rPr lang="es-ES_tradnl"/>
              <a:t>Segundo nivel</a:t>
            </a:r>
          </a:p>
          <a:p>
            <a:pPr lvl="2"/>
            <a:r>
              <a:rPr lang="es-ES_tradnl"/>
              <a:t>Tercer nivel</a:t>
            </a:r>
          </a:p>
          <a:p>
            <a:pPr lvl="3"/>
            <a:r>
              <a:rPr lang="es-ES_tradnl"/>
              <a:t>Cuarto nivel</a:t>
            </a:r>
          </a:p>
          <a:p>
            <a:pPr lvl="4"/>
            <a:r>
              <a:rPr lang="es-ES_tradnl"/>
              <a:t>Quinto nivel</a:t>
            </a:r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4"/>
          </p:nvPr>
        </p:nvSpPr>
        <p:spPr>
          <a:xfrm>
            <a:off x="2" y="9428585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ES_tradnl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5"/>
          </p:nvPr>
        </p:nvSpPr>
        <p:spPr>
          <a:xfrm>
            <a:off x="3850445" y="9428585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A4A3839-F1C7-1E41-A77B-B27525DBFD8A}" type="slidenum">
              <a:rPr lang="es-ES_tradnl" smtClean="0"/>
              <a:t>‹Nº›</a:t>
            </a:fld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201105769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_tradnl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A4A3839-F1C7-1E41-A77B-B27525DBFD8A}" type="slidenum">
              <a:rPr lang="es-ES_tradnl" smtClean="0"/>
              <a:t>1</a:t>
            </a:fld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163135824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n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57" y="0"/>
            <a:ext cx="9897285" cy="68563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64456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n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65100"/>
            <a:ext cx="9904781" cy="6510528"/>
          </a:xfrm>
          <a:prstGeom prst="rect">
            <a:avLst/>
          </a:prstGeom>
        </p:spPr>
      </p:pic>
      <p:sp>
        <p:nvSpPr>
          <p:cNvPr id="3" name="Rectángulo 2"/>
          <p:cNvSpPr/>
          <p:nvPr userDrawn="1"/>
        </p:nvSpPr>
        <p:spPr>
          <a:xfrm>
            <a:off x="7302843" y="165100"/>
            <a:ext cx="2272809" cy="30823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 anchorCtr="0"/>
          <a:lstStyle/>
          <a:p>
            <a:pPr algn="ctr"/>
            <a:r>
              <a:rPr lang="es-ES" sz="1700" b="1" baseline="0">
                <a:solidFill>
                  <a:srgbClr val="B81B49"/>
                </a:solidFill>
                <a:latin typeface="Arial Narrow" panose="020B0606020202030204" pitchFamily="34" charset="0"/>
                <a:cs typeface="Nirmala UI Semilight" panose="020B0402040204020203" pitchFamily="34" charset="0"/>
              </a:rPr>
              <a:t>EVALUACIÓN CIERRE</a:t>
            </a:r>
          </a:p>
        </p:txBody>
      </p:sp>
    </p:spTree>
    <p:extLst>
      <p:ext uri="{BB962C8B-B14F-4D97-AF65-F5344CB8AC3E}">
        <p14:creationId xmlns:p14="http://schemas.microsoft.com/office/powerpoint/2010/main" val="2351169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n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96773"/>
            <a:ext cx="9906000" cy="66627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430155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n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96773"/>
            <a:ext cx="9906000" cy="66627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80108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n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905097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719043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n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90121"/>
            <a:ext cx="9906000" cy="66760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583098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n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905999" cy="6862350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81038" y="365127"/>
            <a:ext cx="8543925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s-ES_tradnl"/>
              <a:t>Clic para editar título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1038" y="1825625"/>
            <a:ext cx="8543925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_tradnl"/>
              <a:t>Haga clic para modificar el estilo de texto del patrón</a:t>
            </a:r>
          </a:p>
          <a:p>
            <a:pPr lvl="1"/>
            <a:r>
              <a:rPr lang="es-ES_tradnl"/>
              <a:t>Segundo nivel</a:t>
            </a:r>
          </a:p>
          <a:p>
            <a:pPr lvl="2"/>
            <a:r>
              <a:rPr lang="es-ES_tradnl"/>
              <a:t>Tercer nivel</a:t>
            </a:r>
          </a:p>
          <a:p>
            <a:pPr lvl="3"/>
            <a:r>
              <a:rPr lang="es-ES_tradnl"/>
              <a:t>Cuarto nivel</a:t>
            </a:r>
          </a:p>
          <a:p>
            <a:pPr lvl="4"/>
            <a:r>
              <a:rPr lang="es-ES_tradnl"/>
              <a:t>Quinto ni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81038" y="6356352"/>
            <a:ext cx="22288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88FBEED-102D-C74A-B981-1E33B4ECA532}" type="datetimeFigureOut">
              <a:rPr lang="es-ES_tradnl" smtClean="0"/>
              <a:t>25/05/2021</a:t>
            </a:fld>
            <a:endParaRPr lang="es-ES_tradnl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281363" y="6356352"/>
            <a:ext cx="334327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s-ES_tradnl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996113" y="6356352"/>
            <a:ext cx="22288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08923E0-67E6-8540-B38E-3920E5654FAF}" type="slidenum">
              <a:rPr lang="es-ES_tradnl" smtClean="0"/>
              <a:t>‹Nº›</a:t>
            </a:fld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43178697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77" r:id="rId2"/>
    <p:sldLayoutId id="2147483676" r:id="rId3"/>
    <p:sldLayoutId id="2147483679" r:id="rId4"/>
    <p:sldLayoutId id="2147483672" r:id="rId5"/>
    <p:sldLayoutId id="2147483681" r:id="rId6"/>
    <p:sldLayoutId id="2147483682" r:id="rId7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6" Type="http://schemas.openxmlformats.org/officeDocument/2006/relationships/image" Target="../media/image13.png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4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tags" Target="../tags/tag22.xml"/><Relationship Id="rId13" Type="http://schemas.openxmlformats.org/officeDocument/2006/relationships/tags" Target="../tags/tag27.xml"/><Relationship Id="rId18" Type="http://schemas.openxmlformats.org/officeDocument/2006/relationships/tags" Target="../tags/tag32.xml"/><Relationship Id="rId26" Type="http://schemas.openxmlformats.org/officeDocument/2006/relationships/tags" Target="../tags/tag40.xml"/><Relationship Id="rId39" Type="http://schemas.openxmlformats.org/officeDocument/2006/relationships/tags" Target="../tags/tag53.xml"/><Relationship Id="rId3" Type="http://schemas.openxmlformats.org/officeDocument/2006/relationships/tags" Target="../tags/tag17.xml"/><Relationship Id="rId21" Type="http://schemas.openxmlformats.org/officeDocument/2006/relationships/tags" Target="../tags/tag35.xml"/><Relationship Id="rId34" Type="http://schemas.openxmlformats.org/officeDocument/2006/relationships/tags" Target="../tags/tag48.xml"/><Relationship Id="rId42" Type="http://schemas.openxmlformats.org/officeDocument/2006/relationships/tags" Target="../tags/tag56.xml"/><Relationship Id="rId47" Type="http://schemas.openxmlformats.org/officeDocument/2006/relationships/slideLayout" Target="../slideLayouts/slideLayout2.xml"/><Relationship Id="rId7" Type="http://schemas.openxmlformats.org/officeDocument/2006/relationships/tags" Target="../tags/tag21.xml"/><Relationship Id="rId12" Type="http://schemas.openxmlformats.org/officeDocument/2006/relationships/tags" Target="../tags/tag26.xml"/><Relationship Id="rId17" Type="http://schemas.openxmlformats.org/officeDocument/2006/relationships/tags" Target="../tags/tag31.xml"/><Relationship Id="rId25" Type="http://schemas.openxmlformats.org/officeDocument/2006/relationships/tags" Target="../tags/tag39.xml"/><Relationship Id="rId33" Type="http://schemas.openxmlformats.org/officeDocument/2006/relationships/tags" Target="../tags/tag47.xml"/><Relationship Id="rId38" Type="http://schemas.openxmlformats.org/officeDocument/2006/relationships/tags" Target="../tags/tag52.xml"/><Relationship Id="rId46" Type="http://schemas.openxmlformats.org/officeDocument/2006/relationships/tags" Target="../tags/tag60.xml"/><Relationship Id="rId2" Type="http://schemas.openxmlformats.org/officeDocument/2006/relationships/tags" Target="../tags/tag16.xml"/><Relationship Id="rId16" Type="http://schemas.openxmlformats.org/officeDocument/2006/relationships/tags" Target="../tags/tag30.xml"/><Relationship Id="rId20" Type="http://schemas.openxmlformats.org/officeDocument/2006/relationships/tags" Target="../tags/tag34.xml"/><Relationship Id="rId29" Type="http://schemas.openxmlformats.org/officeDocument/2006/relationships/tags" Target="../tags/tag43.xml"/><Relationship Id="rId41" Type="http://schemas.openxmlformats.org/officeDocument/2006/relationships/tags" Target="../tags/tag55.xml"/><Relationship Id="rId1" Type="http://schemas.openxmlformats.org/officeDocument/2006/relationships/tags" Target="../tags/tag15.xml"/><Relationship Id="rId6" Type="http://schemas.openxmlformats.org/officeDocument/2006/relationships/tags" Target="../tags/tag20.xml"/><Relationship Id="rId11" Type="http://schemas.openxmlformats.org/officeDocument/2006/relationships/tags" Target="../tags/tag25.xml"/><Relationship Id="rId24" Type="http://schemas.openxmlformats.org/officeDocument/2006/relationships/tags" Target="../tags/tag38.xml"/><Relationship Id="rId32" Type="http://schemas.openxmlformats.org/officeDocument/2006/relationships/tags" Target="../tags/tag46.xml"/><Relationship Id="rId37" Type="http://schemas.openxmlformats.org/officeDocument/2006/relationships/tags" Target="../tags/tag51.xml"/><Relationship Id="rId40" Type="http://schemas.openxmlformats.org/officeDocument/2006/relationships/tags" Target="../tags/tag54.xml"/><Relationship Id="rId45" Type="http://schemas.openxmlformats.org/officeDocument/2006/relationships/tags" Target="../tags/tag59.xml"/><Relationship Id="rId5" Type="http://schemas.openxmlformats.org/officeDocument/2006/relationships/tags" Target="../tags/tag19.xml"/><Relationship Id="rId15" Type="http://schemas.openxmlformats.org/officeDocument/2006/relationships/tags" Target="../tags/tag29.xml"/><Relationship Id="rId23" Type="http://schemas.openxmlformats.org/officeDocument/2006/relationships/tags" Target="../tags/tag37.xml"/><Relationship Id="rId28" Type="http://schemas.openxmlformats.org/officeDocument/2006/relationships/tags" Target="../tags/tag42.xml"/><Relationship Id="rId36" Type="http://schemas.openxmlformats.org/officeDocument/2006/relationships/tags" Target="../tags/tag50.xml"/><Relationship Id="rId10" Type="http://schemas.openxmlformats.org/officeDocument/2006/relationships/tags" Target="../tags/tag24.xml"/><Relationship Id="rId19" Type="http://schemas.openxmlformats.org/officeDocument/2006/relationships/tags" Target="../tags/tag33.xml"/><Relationship Id="rId31" Type="http://schemas.openxmlformats.org/officeDocument/2006/relationships/tags" Target="../tags/tag45.xml"/><Relationship Id="rId44" Type="http://schemas.openxmlformats.org/officeDocument/2006/relationships/tags" Target="../tags/tag58.xml"/><Relationship Id="rId4" Type="http://schemas.openxmlformats.org/officeDocument/2006/relationships/tags" Target="../tags/tag18.xml"/><Relationship Id="rId9" Type="http://schemas.openxmlformats.org/officeDocument/2006/relationships/tags" Target="../tags/tag23.xml"/><Relationship Id="rId14" Type="http://schemas.openxmlformats.org/officeDocument/2006/relationships/tags" Target="../tags/tag28.xml"/><Relationship Id="rId22" Type="http://schemas.openxmlformats.org/officeDocument/2006/relationships/tags" Target="../tags/tag36.xml"/><Relationship Id="rId27" Type="http://schemas.openxmlformats.org/officeDocument/2006/relationships/tags" Target="../tags/tag41.xml"/><Relationship Id="rId30" Type="http://schemas.openxmlformats.org/officeDocument/2006/relationships/tags" Target="../tags/tag44.xml"/><Relationship Id="rId35" Type="http://schemas.openxmlformats.org/officeDocument/2006/relationships/tags" Target="../tags/tag49.xml"/><Relationship Id="rId43" Type="http://schemas.openxmlformats.org/officeDocument/2006/relationships/tags" Target="../tags/tag57.xml"/><Relationship Id="rId48" Type="http://schemas.openxmlformats.org/officeDocument/2006/relationships/image" Target="../media/image12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eg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emf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eg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12" Type="http://schemas.openxmlformats.org/officeDocument/2006/relationships/image" Target="../media/image8.png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slideLayout" Target="../slideLayouts/slideLayout2.xml"/><Relationship Id="rId5" Type="http://schemas.openxmlformats.org/officeDocument/2006/relationships/tags" Target="../tags/tag5.xml"/><Relationship Id="rId10" Type="http://schemas.openxmlformats.org/officeDocument/2006/relationships/tags" Target="../tags/tag10.xml"/><Relationship Id="rId4" Type="http://schemas.openxmlformats.org/officeDocument/2006/relationships/tags" Target="../tags/tag4.xml"/><Relationship Id="rId9" Type="http://schemas.openxmlformats.org/officeDocument/2006/relationships/tags" Target="../tags/tag9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ángulo 1"/>
          <p:cNvSpPr/>
          <p:nvPr/>
        </p:nvSpPr>
        <p:spPr>
          <a:xfrm>
            <a:off x="969818" y="3177309"/>
            <a:ext cx="7943273" cy="95134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 anchorCtr="0"/>
          <a:lstStyle/>
          <a:p>
            <a:pPr algn="ctr"/>
            <a:r>
              <a:rPr lang="es-ES" sz="6000" b="1">
                <a:solidFill>
                  <a:srgbClr val="C0205A"/>
                </a:solidFill>
                <a:latin typeface="Arial Narrow" panose="020B0606020202030204" pitchFamily="34" charset="0"/>
                <a:cs typeface="Nirmala UI Semilight" panose="020B0402040204020203" pitchFamily="34" charset="0"/>
              </a:rPr>
              <a:t>EVALUACIÓN CIERRE</a:t>
            </a:r>
          </a:p>
        </p:txBody>
      </p:sp>
    </p:spTree>
    <p:extLst>
      <p:ext uri="{BB962C8B-B14F-4D97-AF65-F5344CB8AC3E}">
        <p14:creationId xmlns:p14="http://schemas.microsoft.com/office/powerpoint/2010/main" val="39444505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 txBox="1">
            <a:spLocks/>
          </p:cNvSpPr>
          <p:nvPr/>
        </p:nvSpPr>
        <p:spPr>
          <a:xfrm>
            <a:off x="295135" y="280021"/>
            <a:ext cx="6756454" cy="271914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ES" altLang="es-ES" sz="2400" b="1">
                <a:solidFill>
                  <a:srgbClr val="0FA8DC"/>
                </a:solidFill>
                <a:latin typeface="+mn-lt"/>
              </a:rPr>
              <a:t>Mapa estratégico </a:t>
            </a:r>
            <a:r>
              <a:rPr lang="es-ES" altLang="es-ES" sz="2400">
                <a:solidFill>
                  <a:srgbClr val="0FA8DC"/>
                </a:solidFill>
                <a:latin typeface="+mn-lt"/>
              </a:rPr>
              <a:t>H12O 2015-2019</a:t>
            </a:r>
          </a:p>
        </p:txBody>
      </p:sp>
      <p:sp>
        <p:nvSpPr>
          <p:cNvPr id="3" name="CuadroTexto 76"/>
          <p:cNvSpPr txBox="1">
            <a:spLocks noChangeArrowheads="1"/>
          </p:cNvSpPr>
          <p:nvPr/>
        </p:nvSpPr>
        <p:spPr bwMode="auto">
          <a:xfrm rot="16200000">
            <a:off x="-672405" y="3349067"/>
            <a:ext cx="3527425" cy="4325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algn="r">
              <a:defRPr sz="2800">
                <a:solidFill>
                  <a:srgbClr val="000099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1pPr>
            <a:lvl2pPr marL="742950" indent="-285750" algn="r">
              <a:defRPr sz="2800">
                <a:solidFill>
                  <a:srgbClr val="000099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2pPr>
            <a:lvl3pPr marL="1143000" indent="-228600" algn="r">
              <a:defRPr sz="2800">
                <a:solidFill>
                  <a:srgbClr val="000099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3pPr>
            <a:lvl4pPr marL="1600200" indent="-228600" algn="r">
              <a:defRPr sz="2800">
                <a:solidFill>
                  <a:srgbClr val="000099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4pPr>
            <a:lvl5pPr marL="2057400" indent="-228600" algn="r">
              <a:defRPr sz="2800">
                <a:solidFill>
                  <a:srgbClr val="000099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5pPr>
            <a:lvl6pPr marL="2514600" indent="-228600" algn="r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99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6pPr>
            <a:lvl7pPr marL="2971800" indent="-228600" algn="r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99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7pPr>
            <a:lvl8pPr marL="3429000" indent="-228600" algn="r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99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8pPr>
            <a:lvl9pPr marL="3886200" indent="-228600" algn="r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99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9pPr>
          </a:lstStyle>
          <a:p>
            <a:pPr algn="ctr"/>
            <a:r>
              <a:rPr lang="es-ES" altLang="es-ES" sz="2400" b="1">
                <a:solidFill>
                  <a:srgbClr val="212B6C"/>
                </a:solidFill>
                <a:latin typeface="+mn-lt"/>
              </a:rPr>
              <a:t>7 Ejes Estratégicos</a:t>
            </a:r>
            <a:endParaRPr lang="es-ES" altLang="es-ES" sz="2400">
              <a:solidFill>
                <a:srgbClr val="212B6C"/>
              </a:solidFill>
              <a:latin typeface="+mn-lt"/>
            </a:endParaRPr>
          </a:p>
        </p:txBody>
      </p:sp>
      <p:sp>
        <p:nvSpPr>
          <p:cNvPr id="4" name="Rectángulo redondeado 3"/>
          <p:cNvSpPr/>
          <p:nvPr/>
        </p:nvSpPr>
        <p:spPr>
          <a:xfrm>
            <a:off x="2108268" y="1186743"/>
            <a:ext cx="1786740" cy="576155"/>
          </a:xfrm>
          <a:prstGeom prst="roundRect">
            <a:avLst/>
          </a:prstGeom>
          <a:solidFill>
            <a:schemeClr val="bg1"/>
          </a:solidFill>
          <a:ln w="28575">
            <a:solidFill>
              <a:srgbClr val="212B6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_tradnl"/>
          </a:p>
        </p:txBody>
      </p:sp>
      <p:sp>
        <p:nvSpPr>
          <p:cNvPr id="5" name="Rectángulo 4"/>
          <p:cNvSpPr/>
          <p:nvPr/>
        </p:nvSpPr>
        <p:spPr>
          <a:xfrm>
            <a:off x="2200692" y="1176822"/>
            <a:ext cx="1613770" cy="568411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 eaLnBrk="0" hangingPunct="0">
              <a:defRPr>
                <a:solidFill>
                  <a:srgbClr val="000099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1pPr>
            <a:lvl2pPr marL="742950" indent="-285750" eaLnBrk="0" hangingPunct="0">
              <a:defRPr>
                <a:solidFill>
                  <a:srgbClr val="000099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>
                <a:solidFill>
                  <a:srgbClr val="000099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>
                <a:solidFill>
                  <a:srgbClr val="000099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>
                <a:solidFill>
                  <a:srgbClr val="000099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5pPr>
            <a:lvl6pPr marL="2514600" indent="-228600" algn="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99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6pPr>
            <a:lvl7pPr marL="2971800" indent="-228600" algn="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99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7pPr>
            <a:lvl8pPr marL="3429000" indent="-228600" algn="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99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8pPr>
            <a:lvl9pPr marL="3886200" indent="-228600" algn="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99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9pPr>
          </a:lstStyle>
          <a:p>
            <a:pPr algn="ctr" eaLnBrk="1" hangingPunct="1">
              <a:spcAft>
                <a:spcPts val="300"/>
              </a:spcAft>
            </a:pPr>
            <a:r>
              <a:rPr lang="es-ES" altLang="es-ES" sz="1400" b="1">
                <a:solidFill>
                  <a:srgbClr val="212B6C"/>
                </a:solidFill>
                <a:latin typeface="+mn-lt"/>
              </a:rPr>
              <a:t>Paciente</a:t>
            </a:r>
          </a:p>
        </p:txBody>
      </p:sp>
      <p:pic>
        <p:nvPicPr>
          <p:cNvPr id="6" name="Imagen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05413" y="1157297"/>
            <a:ext cx="728676" cy="634509"/>
          </a:xfrm>
          <a:prstGeom prst="rect">
            <a:avLst/>
          </a:prstGeom>
        </p:spPr>
      </p:pic>
      <p:sp>
        <p:nvSpPr>
          <p:cNvPr id="7" name="Rectángulo 6"/>
          <p:cNvSpPr>
            <a:spLocks noChangeArrowheads="1"/>
          </p:cNvSpPr>
          <p:nvPr/>
        </p:nvSpPr>
        <p:spPr bwMode="auto">
          <a:xfrm>
            <a:off x="1619230" y="1316159"/>
            <a:ext cx="634313" cy="313038"/>
          </a:xfrm>
          <a:prstGeom prst="rect">
            <a:avLst/>
          </a:prstGeom>
          <a:noFill/>
          <a:ln>
            <a:noFill/>
          </a:ln>
          <a:effectLst/>
        </p:spPr>
        <p:txBody>
          <a:bodyPr anchor="ctr"/>
          <a:lstStyle>
            <a:lvl1pPr eaLnBrk="0" hangingPunct="0">
              <a:defRPr>
                <a:solidFill>
                  <a:srgbClr val="000099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1pPr>
            <a:lvl2pPr marL="742950" indent="-285750" eaLnBrk="0" hangingPunct="0">
              <a:defRPr>
                <a:solidFill>
                  <a:srgbClr val="000099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>
                <a:solidFill>
                  <a:srgbClr val="000099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>
                <a:solidFill>
                  <a:srgbClr val="000099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>
                <a:solidFill>
                  <a:srgbClr val="000099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5pPr>
            <a:lvl6pPr marL="2514600" indent="-228600" algn="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99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6pPr>
            <a:lvl7pPr marL="2971800" indent="-228600" algn="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99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7pPr>
            <a:lvl8pPr marL="3429000" indent="-228600" algn="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99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8pPr>
            <a:lvl9pPr marL="3886200" indent="-228600" algn="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99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9pPr>
          </a:lstStyle>
          <a:p>
            <a:pPr algn="ctr" eaLnBrk="1" hangingPunct="1"/>
            <a:r>
              <a:rPr lang="es-ES" altLang="es-ES" sz="1200">
                <a:solidFill>
                  <a:srgbClr val="0FA8DC"/>
                </a:solidFill>
                <a:latin typeface="+mn-lt"/>
              </a:rPr>
              <a:t>EJE 1</a:t>
            </a:r>
          </a:p>
        </p:txBody>
      </p:sp>
      <p:sp>
        <p:nvSpPr>
          <p:cNvPr id="8" name="Rectángulo redondeado 7"/>
          <p:cNvSpPr/>
          <p:nvPr/>
        </p:nvSpPr>
        <p:spPr>
          <a:xfrm>
            <a:off x="3895008" y="1186743"/>
            <a:ext cx="5842878" cy="580274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_tradnl"/>
          </a:p>
        </p:txBody>
      </p:sp>
      <p:sp>
        <p:nvSpPr>
          <p:cNvPr id="9" name="Rectángulo 8"/>
          <p:cNvSpPr/>
          <p:nvPr/>
        </p:nvSpPr>
        <p:spPr>
          <a:xfrm>
            <a:off x="4044937" y="1275902"/>
            <a:ext cx="5296133" cy="5078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</a:pPr>
            <a:r>
              <a:rPr lang="es-ES" altLang="es-ES" sz="1500">
                <a:solidFill>
                  <a:srgbClr val="212B6C"/>
                </a:solidFill>
              </a:rPr>
              <a:t>Atención personalizada e integral, centrada en el paciente y su entorno, su salud y necesidades.</a:t>
            </a:r>
          </a:p>
        </p:txBody>
      </p:sp>
      <p:sp>
        <p:nvSpPr>
          <p:cNvPr id="10" name="Rectángulo redondeado 9"/>
          <p:cNvSpPr/>
          <p:nvPr/>
        </p:nvSpPr>
        <p:spPr>
          <a:xfrm>
            <a:off x="2120625" y="1858127"/>
            <a:ext cx="1774384" cy="576155"/>
          </a:xfrm>
          <a:prstGeom prst="roundRect">
            <a:avLst/>
          </a:prstGeom>
          <a:solidFill>
            <a:schemeClr val="bg1"/>
          </a:solidFill>
          <a:ln w="28575">
            <a:solidFill>
              <a:srgbClr val="212B6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_tradnl"/>
          </a:p>
        </p:txBody>
      </p:sp>
      <p:pic>
        <p:nvPicPr>
          <p:cNvPr id="11" name="Imagen 10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17770" y="1828681"/>
            <a:ext cx="728676" cy="634509"/>
          </a:xfrm>
          <a:prstGeom prst="rect">
            <a:avLst/>
          </a:prstGeom>
        </p:spPr>
      </p:pic>
      <p:sp>
        <p:nvSpPr>
          <p:cNvPr id="12" name="Rectángulo 11"/>
          <p:cNvSpPr>
            <a:spLocks noChangeArrowheads="1"/>
          </p:cNvSpPr>
          <p:nvPr/>
        </p:nvSpPr>
        <p:spPr bwMode="auto">
          <a:xfrm>
            <a:off x="1631587" y="1987543"/>
            <a:ext cx="634313" cy="313038"/>
          </a:xfrm>
          <a:prstGeom prst="rect">
            <a:avLst/>
          </a:prstGeom>
          <a:noFill/>
          <a:ln>
            <a:noFill/>
          </a:ln>
          <a:effectLst/>
        </p:spPr>
        <p:txBody>
          <a:bodyPr anchor="ctr"/>
          <a:lstStyle>
            <a:lvl1pPr eaLnBrk="0" hangingPunct="0">
              <a:defRPr>
                <a:solidFill>
                  <a:srgbClr val="000099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1pPr>
            <a:lvl2pPr marL="742950" indent="-285750" eaLnBrk="0" hangingPunct="0">
              <a:defRPr>
                <a:solidFill>
                  <a:srgbClr val="000099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>
                <a:solidFill>
                  <a:srgbClr val="000099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>
                <a:solidFill>
                  <a:srgbClr val="000099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>
                <a:solidFill>
                  <a:srgbClr val="000099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5pPr>
            <a:lvl6pPr marL="2514600" indent="-228600" algn="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99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6pPr>
            <a:lvl7pPr marL="2971800" indent="-228600" algn="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99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7pPr>
            <a:lvl8pPr marL="3429000" indent="-228600" algn="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99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8pPr>
            <a:lvl9pPr marL="3886200" indent="-228600" algn="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99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9pPr>
          </a:lstStyle>
          <a:p>
            <a:pPr algn="ctr" eaLnBrk="1" hangingPunct="1"/>
            <a:r>
              <a:rPr lang="es-ES" altLang="es-ES" sz="1200">
                <a:solidFill>
                  <a:srgbClr val="0FA8DC"/>
                </a:solidFill>
                <a:latin typeface="+mn-lt"/>
              </a:rPr>
              <a:t>EJE 2</a:t>
            </a:r>
          </a:p>
        </p:txBody>
      </p:sp>
      <p:sp>
        <p:nvSpPr>
          <p:cNvPr id="13" name="Rectángulo redondeado 12"/>
          <p:cNvSpPr/>
          <p:nvPr/>
        </p:nvSpPr>
        <p:spPr>
          <a:xfrm>
            <a:off x="3907364" y="1858127"/>
            <a:ext cx="5830522" cy="580274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_tradnl"/>
          </a:p>
        </p:txBody>
      </p:sp>
      <p:sp>
        <p:nvSpPr>
          <p:cNvPr id="14" name="Rectángulo 13"/>
          <p:cNvSpPr/>
          <p:nvPr/>
        </p:nvSpPr>
        <p:spPr>
          <a:xfrm>
            <a:off x="4057294" y="1947286"/>
            <a:ext cx="5680592" cy="5078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</a:pPr>
            <a:r>
              <a:rPr lang="es-ES" altLang="es-ES" sz="1500">
                <a:solidFill>
                  <a:srgbClr val="212B6C"/>
                </a:solidFill>
              </a:rPr>
              <a:t>Estructura organizativa transversal e integrada para una adaptación ágil, flexible y eficiente a los nuevos retos. </a:t>
            </a:r>
          </a:p>
        </p:txBody>
      </p:sp>
      <p:sp>
        <p:nvSpPr>
          <p:cNvPr id="15" name="Rectángulo redondeado 14"/>
          <p:cNvSpPr/>
          <p:nvPr/>
        </p:nvSpPr>
        <p:spPr>
          <a:xfrm>
            <a:off x="2120625" y="2525392"/>
            <a:ext cx="1786740" cy="576155"/>
          </a:xfrm>
          <a:prstGeom prst="roundRect">
            <a:avLst/>
          </a:prstGeom>
          <a:solidFill>
            <a:schemeClr val="bg1"/>
          </a:solidFill>
          <a:ln w="28575">
            <a:solidFill>
              <a:srgbClr val="212B6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_tradnl"/>
          </a:p>
        </p:txBody>
      </p:sp>
      <p:pic>
        <p:nvPicPr>
          <p:cNvPr id="16" name="Imagen 1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17770" y="2495946"/>
            <a:ext cx="728676" cy="634509"/>
          </a:xfrm>
          <a:prstGeom prst="rect">
            <a:avLst/>
          </a:prstGeom>
        </p:spPr>
      </p:pic>
      <p:sp>
        <p:nvSpPr>
          <p:cNvPr id="17" name="Rectángulo 16"/>
          <p:cNvSpPr>
            <a:spLocks noChangeArrowheads="1"/>
          </p:cNvSpPr>
          <p:nvPr/>
        </p:nvSpPr>
        <p:spPr bwMode="auto">
          <a:xfrm>
            <a:off x="1631587" y="2654808"/>
            <a:ext cx="634313" cy="313038"/>
          </a:xfrm>
          <a:prstGeom prst="rect">
            <a:avLst/>
          </a:prstGeom>
          <a:noFill/>
          <a:ln>
            <a:noFill/>
          </a:ln>
          <a:effectLst/>
        </p:spPr>
        <p:txBody>
          <a:bodyPr anchor="ctr"/>
          <a:lstStyle>
            <a:lvl1pPr eaLnBrk="0" hangingPunct="0">
              <a:defRPr>
                <a:solidFill>
                  <a:srgbClr val="000099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1pPr>
            <a:lvl2pPr marL="742950" indent="-285750" eaLnBrk="0" hangingPunct="0">
              <a:defRPr>
                <a:solidFill>
                  <a:srgbClr val="000099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>
                <a:solidFill>
                  <a:srgbClr val="000099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>
                <a:solidFill>
                  <a:srgbClr val="000099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>
                <a:solidFill>
                  <a:srgbClr val="000099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5pPr>
            <a:lvl6pPr marL="2514600" indent="-228600" algn="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99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6pPr>
            <a:lvl7pPr marL="2971800" indent="-228600" algn="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99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7pPr>
            <a:lvl8pPr marL="3429000" indent="-228600" algn="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99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8pPr>
            <a:lvl9pPr marL="3886200" indent="-228600" algn="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99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9pPr>
          </a:lstStyle>
          <a:p>
            <a:pPr algn="ctr" eaLnBrk="1" hangingPunct="1"/>
            <a:r>
              <a:rPr lang="es-ES" altLang="es-ES" sz="1200">
                <a:solidFill>
                  <a:srgbClr val="0FA8DC"/>
                </a:solidFill>
                <a:latin typeface="+mn-lt"/>
              </a:rPr>
              <a:t>EJE 3</a:t>
            </a:r>
          </a:p>
        </p:txBody>
      </p:sp>
      <p:sp>
        <p:nvSpPr>
          <p:cNvPr id="18" name="Rectángulo redondeado 17"/>
          <p:cNvSpPr/>
          <p:nvPr/>
        </p:nvSpPr>
        <p:spPr>
          <a:xfrm>
            <a:off x="3907364" y="2525392"/>
            <a:ext cx="5830521" cy="580274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_tradnl"/>
          </a:p>
        </p:txBody>
      </p:sp>
      <p:sp>
        <p:nvSpPr>
          <p:cNvPr id="19" name="Rectángulo 18"/>
          <p:cNvSpPr/>
          <p:nvPr/>
        </p:nvSpPr>
        <p:spPr>
          <a:xfrm>
            <a:off x="4057295" y="2696931"/>
            <a:ext cx="5680590" cy="3000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</a:pPr>
            <a:r>
              <a:rPr lang="es-ES" altLang="es-ES" sz="1500">
                <a:solidFill>
                  <a:srgbClr val="212B6C"/>
                </a:solidFill>
              </a:rPr>
              <a:t>Consolidar la referencia para fortalecer el liderazgo del Hospital.</a:t>
            </a:r>
          </a:p>
        </p:txBody>
      </p:sp>
      <p:sp>
        <p:nvSpPr>
          <p:cNvPr id="20" name="Rectángulo redondeado 19"/>
          <p:cNvSpPr/>
          <p:nvPr/>
        </p:nvSpPr>
        <p:spPr>
          <a:xfrm>
            <a:off x="2132982" y="3196776"/>
            <a:ext cx="1774382" cy="576155"/>
          </a:xfrm>
          <a:prstGeom prst="roundRect">
            <a:avLst/>
          </a:prstGeom>
          <a:solidFill>
            <a:schemeClr val="bg1"/>
          </a:solidFill>
          <a:ln w="28575">
            <a:solidFill>
              <a:srgbClr val="212B6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_tradnl"/>
          </a:p>
        </p:txBody>
      </p:sp>
      <p:pic>
        <p:nvPicPr>
          <p:cNvPr id="21" name="Imagen 20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30127" y="3167330"/>
            <a:ext cx="728676" cy="634509"/>
          </a:xfrm>
          <a:prstGeom prst="rect">
            <a:avLst/>
          </a:prstGeom>
        </p:spPr>
      </p:pic>
      <p:sp>
        <p:nvSpPr>
          <p:cNvPr id="22" name="Rectángulo 21"/>
          <p:cNvSpPr>
            <a:spLocks noChangeArrowheads="1"/>
          </p:cNvSpPr>
          <p:nvPr/>
        </p:nvSpPr>
        <p:spPr bwMode="auto">
          <a:xfrm>
            <a:off x="1643944" y="3326192"/>
            <a:ext cx="634313" cy="313038"/>
          </a:xfrm>
          <a:prstGeom prst="rect">
            <a:avLst/>
          </a:prstGeom>
          <a:noFill/>
          <a:ln>
            <a:noFill/>
          </a:ln>
          <a:effectLst/>
        </p:spPr>
        <p:txBody>
          <a:bodyPr anchor="ctr"/>
          <a:lstStyle>
            <a:lvl1pPr eaLnBrk="0" hangingPunct="0">
              <a:defRPr>
                <a:solidFill>
                  <a:srgbClr val="000099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1pPr>
            <a:lvl2pPr marL="742950" indent="-285750" eaLnBrk="0" hangingPunct="0">
              <a:defRPr>
                <a:solidFill>
                  <a:srgbClr val="000099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>
                <a:solidFill>
                  <a:srgbClr val="000099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>
                <a:solidFill>
                  <a:srgbClr val="000099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>
                <a:solidFill>
                  <a:srgbClr val="000099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5pPr>
            <a:lvl6pPr marL="2514600" indent="-228600" algn="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99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6pPr>
            <a:lvl7pPr marL="2971800" indent="-228600" algn="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99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7pPr>
            <a:lvl8pPr marL="3429000" indent="-228600" algn="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99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8pPr>
            <a:lvl9pPr marL="3886200" indent="-228600" algn="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99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9pPr>
          </a:lstStyle>
          <a:p>
            <a:pPr algn="ctr" eaLnBrk="1" hangingPunct="1"/>
            <a:r>
              <a:rPr lang="es-ES" altLang="es-ES" sz="1200">
                <a:solidFill>
                  <a:srgbClr val="0FA8DC"/>
                </a:solidFill>
                <a:latin typeface="+mn-lt"/>
              </a:rPr>
              <a:t>EJE 4</a:t>
            </a:r>
          </a:p>
        </p:txBody>
      </p:sp>
      <p:sp>
        <p:nvSpPr>
          <p:cNvPr id="23" name="Rectángulo redondeado 22"/>
          <p:cNvSpPr/>
          <p:nvPr/>
        </p:nvSpPr>
        <p:spPr>
          <a:xfrm>
            <a:off x="3919721" y="3196776"/>
            <a:ext cx="5818164" cy="580274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_tradnl"/>
          </a:p>
        </p:txBody>
      </p:sp>
      <p:sp>
        <p:nvSpPr>
          <p:cNvPr id="24" name="Rectángulo 23"/>
          <p:cNvSpPr/>
          <p:nvPr/>
        </p:nvSpPr>
        <p:spPr>
          <a:xfrm>
            <a:off x="4069651" y="3276508"/>
            <a:ext cx="5461201" cy="5078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</a:pPr>
            <a:r>
              <a:rPr lang="es-ES" altLang="es-ES" sz="1500">
                <a:solidFill>
                  <a:srgbClr val="212B6C"/>
                </a:solidFill>
              </a:rPr>
              <a:t>Liderazgo compartido para impulsar el proceso de transformación del Hospital.</a:t>
            </a:r>
          </a:p>
        </p:txBody>
      </p:sp>
      <p:sp>
        <p:nvSpPr>
          <p:cNvPr id="25" name="Rectángulo redondeado 24"/>
          <p:cNvSpPr/>
          <p:nvPr/>
        </p:nvSpPr>
        <p:spPr>
          <a:xfrm>
            <a:off x="2124744" y="3872279"/>
            <a:ext cx="1786740" cy="576155"/>
          </a:xfrm>
          <a:prstGeom prst="roundRect">
            <a:avLst/>
          </a:prstGeom>
          <a:solidFill>
            <a:schemeClr val="bg1"/>
          </a:solidFill>
          <a:ln w="28575">
            <a:solidFill>
              <a:srgbClr val="212B6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_tradnl"/>
          </a:p>
        </p:txBody>
      </p:sp>
      <p:pic>
        <p:nvPicPr>
          <p:cNvPr id="26" name="Imagen 2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21889" y="3842833"/>
            <a:ext cx="728676" cy="634509"/>
          </a:xfrm>
          <a:prstGeom prst="rect">
            <a:avLst/>
          </a:prstGeom>
        </p:spPr>
      </p:pic>
      <p:sp>
        <p:nvSpPr>
          <p:cNvPr id="27" name="Rectángulo 26"/>
          <p:cNvSpPr>
            <a:spLocks noChangeArrowheads="1"/>
          </p:cNvSpPr>
          <p:nvPr/>
        </p:nvSpPr>
        <p:spPr bwMode="auto">
          <a:xfrm>
            <a:off x="1635706" y="4001695"/>
            <a:ext cx="634313" cy="313038"/>
          </a:xfrm>
          <a:prstGeom prst="rect">
            <a:avLst/>
          </a:prstGeom>
          <a:noFill/>
          <a:ln>
            <a:noFill/>
          </a:ln>
          <a:effectLst/>
        </p:spPr>
        <p:txBody>
          <a:bodyPr anchor="ctr"/>
          <a:lstStyle>
            <a:lvl1pPr eaLnBrk="0" hangingPunct="0">
              <a:defRPr>
                <a:solidFill>
                  <a:srgbClr val="000099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1pPr>
            <a:lvl2pPr marL="742950" indent="-285750" eaLnBrk="0" hangingPunct="0">
              <a:defRPr>
                <a:solidFill>
                  <a:srgbClr val="000099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>
                <a:solidFill>
                  <a:srgbClr val="000099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>
                <a:solidFill>
                  <a:srgbClr val="000099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>
                <a:solidFill>
                  <a:srgbClr val="000099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5pPr>
            <a:lvl6pPr marL="2514600" indent="-228600" algn="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99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6pPr>
            <a:lvl7pPr marL="2971800" indent="-228600" algn="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99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7pPr>
            <a:lvl8pPr marL="3429000" indent="-228600" algn="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99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8pPr>
            <a:lvl9pPr marL="3886200" indent="-228600" algn="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99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9pPr>
          </a:lstStyle>
          <a:p>
            <a:pPr algn="ctr" eaLnBrk="1" hangingPunct="1"/>
            <a:r>
              <a:rPr lang="es-ES" altLang="es-ES" sz="1200">
                <a:solidFill>
                  <a:srgbClr val="0FA8DC"/>
                </a:solidFill>
                <a:latin typeface="+mn-lt"/>
              </a:rPr>
              <a:t>EJE 5</a:t>
            </a:r>
          </a:p>
        </p:txBody>
      </p:sp>
      <p:sp>
        <p:nvSpPr>
          <p:cNvPr id="28" name="Rectángulo redondeado 27"/>
          <p:cNvSpPr/>
          <p:nvPr/>
        </p:nvSpPr>
        <p:spPr>
          <a:xfrm>
            <a:off x="3911483" y="3872279"/>
            <a:ext cx="5826402" cy="580274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_tradnl"/>
          </a:p>
        </p:txBody>
      </p:sp>
      <p:sp>
        <p:nvSpPr>
          <p:cNvPr id="29" name="Rectángulo 28"/>
          <p:cNvSpPr/>
          <p:nvPr/>
        </p:nvSpPr>
        <p:spPr>
          <a:xfrm>
            <a:off x="4061414" y="3961438"/>
            <a:ext cx="5279656" cy="5078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</a:pPr>
            <a:r>
              <a:rPr lang="es-ES" altLang="es-ES" sz="1500">
                <a:solidFill>
                  <a:srgbClr val="212B6C"/>
                </a:solidFill>
              </a:rPr>
              <a:t>Reforzar la actividad del hospital como generador de conocimiento e innovación.</a:t>
            </a:r>
          </a:p>
        </p:txBody>
      </p:sp>
      <p:sp>
        <p:nvSpPr>
          <p:cNvPr id="30" name="Rectángulo redondeado 29"/>
          <p:cNvSpPr/>
          <p:nvPr/>
        </p:nvSpPr>
        <p:spPr>
          <a:xfrm>
            <a:off x="2124744" y="4539544"/>
            <a:ext cx="1770264" cy="576155"/>
          </a:xfrm>
          <a:prstGeom prst="roundRect">
            <a:avLst/>
          </a:prstGeom>
          <a:solidFill>
            <a:schemeClr val="bg1"/>
          </a:solidFill>
          <a:ln w="28575">
            <a:solidFill>
              <a:srgbClr val="212B6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_tradnl"/>
          </a:p>
        </p:txBody>
      </p:sp>
      <p:pic>
        <p:nvPicPr>
          <p:cNvPr id="31" name="Imagen 30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21889" y="4510098"/>
            <a:ext cx="728676" cy="634509"/>
          </a:xfrm>
          <a:prstGeom prst="rect">
            <a:avLst/>
          </a:prstGeom>
        </p:spPr>
      </p:pic>
      <p:sp>
        <p:nvSpPr>
          <p:cNvPr id="32" name="Rectángulo 31"/>
          <p:cNvSpPr>
            <a:spLocks noChangeArrowheads="1"/>
          </p:cNvSpPr>
          <p:nvPr/>
        </p:nvSpPr>
        <p:spPr bwMode="auto">
          <a:xfrm>
            <a:off x="1635706" y="4668960"/>
            <a:ext cx="634313" cy="313038"/>
          </a:xfrm>
          <a:prstGeom prst="rect">
            <a:avLst/>
          </a:prstGeom>
          <a:noFill/>
          <a:ln>
            <a:noFill/>
          </a:ln>
          <a:effectLst/>
        </p:spPr>
        <p:txBody>
          <a:bodyPr anchor="ctr"/>
          <a:lstStyle>
            <a:lvl1pPr eaLnBrk="0" hangingPunct="0">
              <a:defRPr>
                <a:solidFill>
                  <a:srgbClr val="000099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1pPr>
            <a:lvl2pPr marL="742950" indent="-285750" eaLnBrk="0" hangingPunct="0">
              <a:defRPr>
                <a:solidFill>
                  <a:srgbClr val="000099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>
                <a:solidFill>
                  <a:srgbClr val="000099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>
                <a:solidFill>
                  <a:srgbClr val="000099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>
                <a:solidFill>
                  <a:srgbClr val="000099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5pPr>
            <a:lvl6pPr marL="2514600" indent="-228600" algn="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99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6pPr>
            <a:lvl7pPr marL="2971800" indent="-228600" algn="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99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7pPr>
            <a:lvl8pPr marL="3429000" indent="-228600" algn="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99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8pPr>
            <a:lvl9pPr marL="3886200" indent="-228600" algn="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99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9pPr>
          </a:lstStyle>
          <a:p>
            <a:pPr algn="ctr" eaLnBrk="1" hangingPunct="1"/>
            <a:r>
              <a:rPr lang="es-ES" altLang="es-ES" sz="1200">
                <a:solidFill>
                  <a:srgbClr val="0FA8DC"/>
                </a:solidFill>
                <a:latin typeface="+mn-lt"/>
              </a:rPr>
              <a:t>EJE 6</a:t>
            </a:r>
          </a:p>
        </p:txBody>
      </p:sp>
      <p:sp>
        <p:nvSpPr>
          <p:cNvPr id="33" name="Rectángulo redondeado 32"/>
          <p:cNvSpPr/>
          <p:nvPr/>
        </p:nvSpPr>
        <p:spPr>
          <a:xfrm>
            <a:off x="3911484" y="4539544"/>
            <a:ext cx="5826401" cy="580274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_tradnl"/>
          </a:p>
        </p:txBody>
      </p:sp>
      <p:sp>
        <p:nvSpPr>
          <p:cNvPr id="34" name="Rectángulo 33"/>
          <p:cNvSpPr/>
          <p:nvPr/>
        </p:nvSpPr>
        <p:spPr>
          <a:xfrm>
            <a:off x="4061414" y="4709894"/>
            <a:ext cx="4953000" cy="300082"/>
          </a:xfrm>
          <a:prstGeom prst="rect">
            <a:avLst/>
          </a:prstGeom>
        </p:spPr>
        <p:txBody>
          <a:bodyPr>
            <a:spAutoFit/>
          </a:bodyPr>
          <a:lstStyle/>
          <a:p>
            <a:pPr>
              <a:lnSpc>
                <a:spcPct val="90000"/>
              </a:lnSpc>
            </a:pPr>
            <a:r>
              <a:rPr lang="es-ES" altLang="es-ES" sz="1500">
                <a:solidFill>
                  <a:srgbClr val="212B6C"/>
                </a:solidFill>
              </a:rPr>
              <a:t>Hospital como referente en la formación sanitaria.</a:t>
            </a:r>
          </a:p>
        </p:txBody>
      </p:sp>
      <p:sp>
        <p:nvSpPr>
          <p:cNvPr id="35" name="Rectángulo redondeado 34"/>
          <p:cNvSpPr/>
          <p:nvPr/>
        </p:nvSpPr>
        <p:spPr>
          <a:xfrm>
            <a:off x="2137100" y="5210928"/>
            <a:ext cx="1770263" cy="576155"/>
          </a:xfrm>
          <a:prstGeom prst="roundRect">
            <a:avLst/>
          </a:prstGeom>
          <a:solidFill>
            <a:schemeClr val="bg1"/>
          </a:solidFill>
          <a:ln w="28575">
            <a:solidFill>
              <a:srgbClr val="212B6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_tradnl" sz="1400"/>
          </a:p>
        </p:txBody>
      </p:sp>
      <p:pic>
        <p:nvPicPr>
          <p:cNvPr id="36" name="Imagen 3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34246" y="5181482"/>
            <a:ext cx="728676" cy="634509"/>
          </a:xfrm>
          <a:prstGeom prst="rect">
            <a:avLst/>
          </a:prstGeom>
        </p:spPr>
      </p:pic>
      <p:sp>
        <p:nvSpPr>
          <p:cNvPr id="37" name="Rectángulo 36"/>
          <p:cNvSpPr>
            <a:spLocks noChangeArrowheads="1"/>
          </p:cNvSpPr>
          <p:nvPr/>
        </p:nvSpPr>
        <p:spPr bwMode="auto">
          <a:xfrm>
            <a:off x="1648063" y="5340344"/>
            <a:ext cx="634313" cy="313038"/>
          </a:xfrm>
          <a:prstGeom prst="rect">
            <a:avLst/>
          </a:prstGeom>
          <a:noFill/>
          <a:ln>
            <a:noFill/>
          </a:ln>
          <a:effectLst/>
        </p:spPr>
        <p:txBody>
          <a:bodyPr anchor="ctr"/>
          <a:lstStyle>
            <a:lvl1pPr eaLnBrk="0" hangingPunct="0">
              <a:defRPr>
                <a:solidFill>
                  <a:srgbClr val="000099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1pPr>
            <a:lvl2pPr marL="742950" indent="-285750" eaLnBrk="0" hangingPunct="0">
              <a:defRPr>
                <a:solidFill>
                  <a:srgbClr val="000099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>
                <a:solidFill>
                  <a:srgbClr val="000099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>
                <a:solidFill>
                  <a:srgbClr val="000099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>
                <a:solidFill>
                  <a:srgbClr val="000099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5pPr>
            <a:lvl6pPr marL="2514600" indent="-228600" algn="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99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6pPr>
            <a:lvl7pPr marL="2971800" indent="-228600" algn="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99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7pPr>
            <a:lvl8pPr marL="3429000" indent="-228600" algn="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99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8pPr>
            <a:lvl9pPr marL="3886200" indent="-228600" algn="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99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9pPr>
          </a:lstStyle>
          <a:p>
            <a:pPr algn="ctr" eaLnBrk="1" hangingPunct="1"/>
            <a:r>
              <a:rPr lang="es-ES" altLang="es-ES" sz="1200">
                <a:solidFill>
                  <a:srgbClr val="0FA8DC"/>
                </a:solidFill>
                <a:latin typeface="+mn-lt"/>
              </a:rPr>
              <a:t>EJE 7</a:t>
            </a:r>
          </a:p>
        </p:txBody>
      </p:sp>
      <p:sp>
        <p:nvSpPr>
          <p:cNvPr id="38" name="Rectángulo redondeado 37"/>
          <p:cNvSpPr/>
          <p:nvPr/>
        </p:nvSpPr>
        <p:spPr>
          <a:xfrm>
            <a:off x="3923840" y="5210928"/>
            <a:ext cx="5814046" cy="580274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_tradnl"/>
          </a:p>
        </p:txBody>
      </p:sp>
      <p:sp>
        <p:nvSpPr>
          <p:cNvPr id="39" name="Rectángulo 38"/>
          <p:cNvSpPr/>
          <p:nvPr/>
        </p:nvSpPr>
        <p:spPr>
          <a:xfrm>
            <a:off x="4073770" y="5315374"/>
            <a:ext cx="5457081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80000"/>
              </a:lnSpc>
            </a:pPr>
            <a:r>
              <a:rPr lang="es-ES" altLang="es-ES" sz="1500">
                <a:solidFill>
                  <a:srgbClr val="212B6C"/>
                </a:solidFill>
              </a:rPr>
              <a:t>Fortalecer  nuestro liderazgo y nuestro nivel de compromiso </a:t>
            </a:r>
          </a:p>
          <a:p>
            <a:pPr>
              <a:lnSpc>
                <a:spcPct val="80000"/>
              </a:lnSpc>
            </a:pPr>
            <a:r>
              <a:rPr lang="es-ES" altLang="es-ES" sz="1500">
                <a:solidFill>
                  <a:srgbClr val="212B6C"/>
                </a:solidFill>
              </a:rPr>
              <a:t>y responsabilidad con el conjunto de la sociedad.</a:t>
            </a:r>
          </a:p>
        </p:txBody>
      </p:sp>
      <p:sp>
        <p:nvSpPr>
          <p:cNvPr id="40" name="Rectángulo 39"/>
          <p:cNvSpPr/>
          <p:nvPr/>
        </p:nvSpPr>
        <p:spPr>
          <a:xfrm>
            <a:off x="2232454" y="1861751"/>
            <a:ext cx="1594364" cy="560586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 eaLnBrk="0" hangingPunct="0">
              <a:defRPr>
                <a:solidFill>
                  <a:srgbClr val="000099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1pPr>
            <a:lvl2pPr marL="742950" indent="-285750" eaLnBrk="0" hangingPunct="0">
              <a:defRPr>
                <a:solidFill>
                  <a:srgbClr val="000099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>
                <a:solidFill>
                  <a:srgbClr val="000099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>
                <a:solidFill>
                  <a:srgbClr val="000099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>
                <a:solidFill>
                  <a:srgbClr val="000099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5pPr>
            <a:lvl6pPr marL="2514600" indent="-228600" algn="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99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6pPr>
            <a:lvl7pPr marL="2971800" indent="-228600" algn="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99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7pPr>
            <a:lvl8pPr marL="3429000" indent="-228600" algn="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99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8pPr>
            <a:lvl9pPr marL="3886200" indent="-228600" algn="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99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9pPr>
          </a:lstStyle>
          <a:p>
            <a:pPr algn="ctr" eaLnBrk="1" hangingPunct="1">
              <a:spcAft>
                <a:spcPts val="300"/>
              </a:spcAft>
            </a:pPr>
            <a:r>
              <a:rPr lang="es-ES" altLang="es-ES" sz="1400" b="1">
                <a:solidFill>
                  <a:srgbClr val="212B6C"/>
                </a:solidFill>
                <a:latin typeface="+mn-lt"/>
              </a:rPr>
              <a:t>Organización Asistencial</a:t>
            </a:r>
          </a:p>
        </p:txBody>
      </p:sp>
      <p:sp>
        <p:nvSpPr>
          <p:cNvPr id="41" name="Rectángulo 40"/>
          <p:cNvSpPr/>
          <p:nvPr/>
        </p:nvSpPr>
        <p:spPr>
          <a:xfrm>
            <a:off x="2317468" y="2525696"/>
            <a:ext cx="1439966" cy="580382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 eaLnBrk="0" hangingPunct="0">
              <a:defRPr>
                <a:solidFill>
                  <a:srgbClr val="000099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1pPr>
            <a:lvl2pPr marL="742950" indent="-285750" eaLnBrk="0" hangingPunct="0">
              <a:defRPr>
                <a:solidFill>
                  <a:srgbClr val="000099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>
                <a:solidFill>
                  <a:srgbClr val="000099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>
                <a:solidFill>
                  <a:srgbClr val="000099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>
                <a:solidFill>
                  <a:srgbClr val="000099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5pPr>
            <a:lvl6pPr marL="2514600" indent="-228600" algn="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99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6pPr>
            <a:lvl7pPr marL="2971800" indent="-228600" algn="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99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7pPr>
            <a:lvl8pPr marL="3429000" indent="-228600" algn="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99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8pPr>
            <a:lvl9pPr marL="3886200" indent="-228600" algn="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99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9pPr>
          </a:lstStyle>
          <a:p>
            <a:pPr algn="ctr" eaLnBrk="1" hangingPunct="1">
              <a:spcAft>
                <a:spcPts val="300"/>
              </a:spcAft>
            </a:pPr>
            <a:r>
              <a:rPr lang="es-ES" altLang="es-ES" sz="1400" b="1">
                <a:solidFill>
                  <a:srgbClr val="212B6C"/>
                </a:solidFill>
                <a:latin typeface="+mn-lt"/>
              </a:rPr>
              <a:t>Referencias</a:t>
            </a:r>
          </a:p>
        </p:txBody>
      </p:sp>
      <p:sp>
        <p:nvSpPr>
          <p:cNvPr id="42" name="Rectángulo 41"/>
          <p:cNvSpPr/>
          <p:nvPr/>
        </p:nvSpPr>
        <p:spPr>
          <a:xfrm>
            <a:off x="2273642" y="3189913"/>
            <a:ext cx="1553175" cy="580382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 eaLnBrk="0" hangingPunct="0">
              <a:defRPr>
                <a:solidFill>
                  <a:srgbClr val="000099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1pPr>
            <a:lvl2pPr marL="742950" indent="-285750" eaLnBrk="0" hangingPunct="0">
              <a:defRPr>
                <a:solidFill>
                  <a:srgbClr val="000099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>
                <a:solidFill>
                  <a:srgbClr val="000099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>
                <a:solidFill>
                  <a:srgbClr val="000099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>
                <a:solidFill>
                  <a:srgbClr val="000099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5pPr>
            <a:lvl6pPr marL="2514600" indent="-228600" algn="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99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6pPr>
            <a:lvl7pPr marL="2971800" indent="-228600" algn="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99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7pPr>
            <a:lvl8pPr marL="3429000" indent="-228600" algn="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99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8pPr>
            <a:lvl9pPr marL="3886200" indent="-228600" algn="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99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9pPr>
          </a:lstStyle>
          <a:p>
            <a:pPr algn="ctr" eaLnBrk="1" hangingPunct="1">
              <a:spcAft>
                <a:spcPts val="300"/>
              </a:spcAft>
            </a:pPr>
            <a:r>
              <a:rPr lang="es-ES" altLang="es-ES" sz="1400" b="1">
                <a:solidFill>
                  <a:srgbClr val="212B6C"/>
                </a:solidFill>
                <a:latin typeface="+mn-lt"/>
              </a:rPr>
              <a:t>Profesionales</a:t>
            </a:r>
          </a:p>
        </p:txBody>
      </p:sp>
      <p:sp>
        <p:nvSpPr>
          <p:cNvPr id="43" name="Rectángulo 42"/>
          <p:cNvSpPr/>
          <p:nvPr/>
        </p:nvSpPr>
        <p:spPr>
          <a:xfrm>
            <a:off x="2299674" y="3850799"/>
            <a:ext cx="1457760" cy="580382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 eaLnBrk="0" hangingPunct="0">
              <a:defRPr>
                <a:solidFill>
                  <a:srgbClr val="000099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1pPr>
            <a:lvl2pPr marL="742950" indent="-285750" eaLnBrk="0" hangingPunct="0">
              <a:defRPr>
                <a:solidFill>
                  <a:srgbClr val="000099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>
                <a:solidFill>
                  <a:srgbClr val="000099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>
                <a:solidFill>
                  <a:srgbClr val="000099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>
                <a:solidFill>
                  <a:srgbClr val="000099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5pPr>
            <a:lvl6pPr marL="2514600" indent="-228600" algn="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99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6pPr>
            <a:lvl7pPr marL="2971800" indent="-228600" algn="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99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7pPr>
            <a:lvl8pPr marL="3429000" indent="-228600" algn="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99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8pPr>
            <a:lvl9pPr marL="3886200" indent="-228600" algn="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99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9pPr>
          </a:lstStyle>
          <a:p>
            <a:pPr algn="ctr" eaLnBrk="1" hangingPunct="1">
              <a:spcAft>
                <a:spcPts val="300"/>
              </a:spcAft>
            </a:pPr>
            <a:r>
              <a:rPr lang="es-ES" altLang="es-ES" sz="1400" b="1">
                <a:solidFill>
                  <a:srgbClr val="212B6C"/>
                </a:solidFill>
                <a:latin typeface="+mn-lt"/>
              </a:rPr>
              <a:t>Innovación</a:t>
            </a:r>
          </a:p>
        </p:txBody>
      </p:sp>
      <p:sp>
        <p:nvSpPr>
          <p:cNvPr id="44" name="Rectángulo 43"/>
          <p:cNvSpPr/>
          <p:nvPr/>
        </p:nvSpPr>
        <p:spPr>
          <a:xfrm>
            <a:off x="2329660" y="4539047"/>
            <a:ext cx="1427773" cy="565775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 eaLnBrk="0" hangingPunct="0">
              <a:defRPr>
                <a:solidFill>
                  <a:srgbClr val="000099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1pPr>
            <a:lvl2pPr marL="742950" indent="-285750" eaLnBrk="0" hangingPunct="0">
              <a:defRPr>
                <a:solidFill>
                  <a:srgbClr val="000099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>
                <a:solidFill>
                  <a:srgbClr val="000099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>
                <a:solidFill>
                  <a:srgbClr val="000099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>
                <a:solidFill>
                  <a:srgbClr val="000099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5pPr>
            <a:lvl6pPr marL="2514600" indent="-228600" algn="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99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6pPr>
            <a:lvl7pPr marL="2971800" indent="-228600" algn="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99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7pPr>
            <a:lvl8pPr marL="3429000" indent="-228600" algn="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99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8pPr>
            <a:lvl9pPr marL="3886200" indent="-228600" algn="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99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9pPr>
          </a:lstStyle>
          <a:p>
            <a:pPr algn="ctr" eaLnBrk="1" hangingPunct="1">
              <a:spcAft>
                <a:spcPts val="300"/>
              </a:spcAft>
            </a:pPr>
            <a:r>
              <a:rPr lang="es-ES" altLang="es-ES" sz="1400" b="1">
                <a:solidFill>
                  <a:srgbClr val="212B6C"/>
                </a:solidFill>
                <a:latin typeface="+mn-lt"/>
              </a:rPr>
              <a:t>Docencia</a:t>
            </a:r>
          </a:p>
        </p:txBody>
      </p:sp>
      <p:sp>
        <p:nvSpPr>
          <p:cNvPr id="45" name="Rectángulo 44"/>
          <p:cNvSpPr/>
          <p:nvPr/>
        </p:nvSpPr>
        <p:spPr>
          <a:xfrm>
            <a:off x="2335922" y="5206994"/>
            <a:ext cx="1490895" cy="580382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 eaLnBrk="0" hangingPunct="0">
              <a:defRPr>
                <a:solidFill>
                  <a:srgbClr val="000099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1pPr>
            <a:lvl2pPr marL="742950" indent="-285750" eaLnBrk="0" hangingPunct="0">
              <a:defRPr>
                <a:solidFill>
                  <a:srgbClr val="000099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>
                <a:solidFill>
                  <a:srgbClr val="000099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>
                <a:solidFill>
                  <a:srgbClr val="000099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>
                <a:solidFill>
                  <a:srgbClr val="000099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5pPr>
            <a:lvl6pPr marL="2514600" indent="-228600" algn="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99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6pPr>
            <a:lvl7pPr marL="2971800" indent="-228600" algn="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99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7pPr>
            <a:lvl8pPr marL="3429000" indent="-228600" algn="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99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8pPr>
            <a:lvl9pPr marL="3886200" indent="-228600" algn="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99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9pPr>
          </a:lstStyle>
          <a:p>
            <a:pPr algn="ctr" eaLnBrk="1" hangingPunct="1">
              <a:spcAft>
                <a:spcPts val="300"/>
              </a:spcAft>
            </a:pPr>
            <a:r>
              <a:rPr lang="es-ES" altLang="es-ES" sz="1400" b="1">
                <a:solidFill>
                  <a:srgbClr val="212B6C"/>
                </a:solidFill>
                <a:latin typeface="+mn-lt"/>
              </a:rPr>
              <a:t>Sociedad</a:t>
            </a:r>
          </a:p>
        </p:txBody>
      </p:sp>
    </p:spTree>
    <p:extLst>
      <p:ext uri="{BB962C8B-B14F-4D97-AF65-F5344CB8AC3E}">
        <p14:creationId xmlns:p14="http://schemas.microsoft.com/office/powerpoint/2010/main" val="41054580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 txBox="1">
            <a:spLocks/>
          </p:cNvSpPr>
          <p:nvPr/>
        </p:nvSpPr>
        <p:spPr>
          <a:xfrm>
            <a:off x="295135" y="280021"/>
            <a:ext cx="6756454" cy="271914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ES" altLang="es-ES" sz="2400" b="1">
                <a:solidFill>
                  <a:srgbClr val="0FA8DC"/>
                </a:solidFill>
                <a:latin typeface="+mn-lt"/>
              </a:rPr>
              <a:t>Mapa estratégico </a:t>
            </a:r>
            <a:r>
              <a:rPr lang="es-ES" altLang="es-ES" sz="2400">
                <a:solidFill>
                  <a:srgbClr val="0FA8DC"/>
                </a:solidFill>
                <a:latin typeface="+mn-lt"/>
              </a:rPr>
              <a:t>H12O 2015-2019</a:t>
            </a:r>
          </a:p>
        </p:txBody>
      </p:sp>
      <p:sp>
        <p:nvSpPr>
          <p:cNvPr id="3" name="CuadroTexto 76"/>
          <p:cNvSpPr txBox="1">
            <a:spLocks noChangeArrowheads="1"/>
          </p:cNvSpPr>
          <p:nvPr/>
        </p:nvSpPr>
        <p:spPr bwMode="auto">
          <a:xfrm>
            <a:off x="2911054" y="1050710"/>
            <a:ext cx="3527425" cy="4325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algn="r">
              <a:defRPr sz="2800">
                <a:solidFill>
                  <a:srgbClr val="000099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1pPr>
            <a:lvl2pPr marL="742950" indent="-285750" algn="r">
              <a:defRPr sz="2800">
                <a:solidFill>
                  <a:srgbClr val="000099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2pPr>
            <a:lvl3pPr marL="1143000" indent="-228600" algn="r">
              <a:defRPr sz="2800">
                <a:solidFill>
                  <a:srgbClr val="000099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3pPr>
            <a:lvl4pPr marL="1600200" indent="-228600" algn="r">
              <a:defRPr sz="2800">
                <a:solidFill>
                  <a:srgbClr val="000099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4pPr>
            <a:lvl5pPr marL="2057400" indent="-228600" algn="r">
              <a:defRPr sz="2800">
                <a:solidFill>
                  <a:srgbClr val="000099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5pPr>
            <a:lvl6pPr marL="2514600" indent="-228600" algn="r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99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6pPr>
            <a:lvl7pPr marL="2971800" indent="-228600" algn="r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99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7pPr>
            <a:lvl8pPr marL="3429000" indent="-228600" algn="r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99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8pPr>
            <a:lvl9pPr marL="3886200" indent="-228600" algn="r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99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9pPr>
          </a:lstStyle>
          <a:p>
            <a:pPr algn="ctr"/>
            <a:r>
              <a:rPr lang="es-ES" altLang="es-ES" sz="2400" b="1">
                <a:solidFill>
                  <a:srgbClr val="212B6C"/>
                </a:solidFill>
                <a:latin typeface="+mn-lt"/>
              </a:rPr>
              <a:t>2 Ejes Transversales</a:t>
            </a:r>
            <a:endParaRPr lang="es-ES" altLang="es-ES" sz="2400">
              <a:solidFill>
                <a:srgbClr val="212B6C"/>
              </a:solidFill>
              <a:latin typeface="+mn-lt"/>
            </a:endParaRPr>
          </a:p>
        </p:txBody>
      </p:sp>
      <p:sp>
        <p:nvSpPr>
          <p:cNvPr id="4" name="Rectángulo redondeado 3"/>
          <p:cNvSpPr/>
          <p:nvPr/>
        </p:nvSpPr>
        <p:spPr>
          <a:xfrm>
            <a:off x="2116504" y="2364753"/>
            <a:ext cx="2035365" cy="1006719"/>
          </a:xfrm>
          <a:prstGeom prst="roundRect">
            <a:avLst/>
          </a:prstGeom>
          <a:solidFill>
            <a:schemeClr val="bg1"/>
          </a:solidFill>
          <a:ln w="28575">
            <a:solidFill>
              <a:srgbClr val="212B6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_tradnl"/>
          </a:p>
        </p:txBody>
      </p:sp>
      <p:sp>
        <p:nvSpPr>
          <p:cNvPr id="5" name="Rectángulo redondeado 4"/>
          <p:cNvSpPr/>
          <p:nvPr/>
        </p:nvSpPr>
        <p:spPr>
          <a:xfrm>
            <a:off x="2062960" y="3506794"/>
            <a:ext cx="2154814" cy="1848900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_tradnl"/>
          </a:p>
        </p:txBody>
      </p:sp>
      <p:sp>
        <p:nvSpPr>
          <p:cNvPr id="6" name="Rectángulo 5"/>
          <p:cNvSpPr/>
          <p:nvPr/>
        </p:nvSpPr>
        <p:spPr>
          <a:xfrm>
            <a:off x="2208838" y="3743959"/>
            <a:ext cx="1992458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20000"/>
              </a:lnSpc>
              <a:defRPr/>
            </a:pPr>
            <a:r>
              <a:rPr lang="es-ES" altLang="es-ES" sz="1600">
                <a:solidFill>
                  <a:srgbClr val="212B6C"/>
                </a:solidFill>
              </a:rPr>
              <a:t>Política de alianzas y colaboraciones para la consecución de los objetivos estratégicos.</a:t>
            </a:r>
          </a:p>
        </p:txBody>
      </p:sp>
      <p:pic>
        <p:nvPicPr>
          <p:cNvPr id="7" name="Imagen 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2576892" y="1647632"/>
            <a:ext cx="1102520" cy="960041"/>
          </a:xfrm>
          <a:prstGeom prst="rect">
            <a:avLst/>
          </a:prstGeom>
        </p:spPr>
      </p:pic>
      <p:sp>
        <p:nvSpPr>
          <p:cNvPr id="8" name="Rectángulo 7"/>
          <p:cNvSpPr/>
          <p:nvPr/>
        </p:nvSpPr>
        <p:spPr>
          <a:xfrm>
            <a:off x="2622516" y="1900563"/>
            <a:ext cx="1011592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s-ES" altLang="es-ES" sz="2000" b="1">
                <a:solidFill>
                  <a:srgbClr val="0FA8DC"/>
                </a:solidFill>
              </a:rPr>
              <a:t>EJE 8</a:t>
            </a:r>
          </a:p>
        </p:txBody>
      </p:sp>
      <p:sp>
        <p:nvSpPr>
          <p:cNvPr id="9" name="Rectángulo 8"/>
          <p:cNvSpPr/>
          <p:nvPr/>
        </p:nvSpPr>
        <p:spPr>
          <a:xfrm>
            <a:off x="2034745" y="2669060"/>
            <a:ext cx="2166551" cy="518984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 eaLnBrk="0" hangingPunct="0">
              <a:defRPr>
                <a:solidFill>
                  <a:srgbClr val="000099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1pPr>
            <a:lvl2pPr marL="742950" indent="-285750" eaLnBrk="0" hangingPunct="0">
              <a:defRPr>
                <a:solidFill>
                  <a:srgbClr val="000099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>
                <a:solidFill>
                  <a:srgbClr val="000099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>
                <a:solidFill>
                  <a:srgbClr val="000099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>
                <a:solidFill>
                  <a:srgbClr val="000099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5pPr>
            <a:lvl6pPr marL="2514600" indent="-228600" algn="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99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6pPr>
            <a:lvl7pPr marL="2971800" indent="-228600" algn="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99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7pPr>
            <a:lvl8pPr marL="3429000" indent="-228600" algn="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99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8pPr>
            <a:lvl9pPr marL="3886200" indent="-228600" algn="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99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9pPr>
          </a:lstStyle>
          <a:p>
            <a:pPr algn="ctr" eaLnBrk="1" hangingPunct="1">
              <a:spcAft>
                <a:spcPts val="300"/>
              </a:spcAft>
            </a:pPr>
            <a:r>
              <a:rPr lang="es-ES" altLang="es-ES" sz="2000" b="1">
                <a:solidFill>
                  <a:srgbClr val="212B6C"/>
                </a:solidFill>
                <a:latin typeface="+mn-lt"/>
              </a:rPr>
              <a:t>Alianza y Colaboraciones</a:t>
            </a:r>
          </a:p>
        </p:txBody>
      </p:sp>
      <p:sp>
        <p:nvSpPr>
          <p:cNvPr id="10" name="Rectángulo redondeado 9"/>
          <p:cNvSpPr/>
          <p:nvPr/>
        </p:nvSpPr>
        <p:spPr>
          <a:xfrm>
            <a:off x="5094485" y="2335921"/>
            <a:ext cx="2035365" cy="1006719"/>
          </a:xfrm>
          <a:prstGeom prst="roundRect">
            <a:avLst/>
          </a:prstGeom>
          <a:solidFill>
            <a:schemeClr val="bg1"/>
          </a:solidFill>
          <a:ln w="28575">
            <a:solidFill>
              <a:srgbClr val="212B6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_tradnl"/>
          </a:p>
        </p:txBody>
      </p:sp>
      <p:sp>
        <p:nvSpPr>
          <p:cNvPr id="11" name="Rectángulo redondeado 10"/>
          <p:cNvSpPr/>
          <p:nvPr/>
        </p:nvSpPr>
        <p:spPr>
          <a:xfrm>
            <a:off x="5040941" y="3477961"/>
            <a:ext cx="2154814" cy="2231959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_tradnl"/>
          </a:p>
        </p:txBody>
      </p:sp>
      <p:sp>
        <p:nvSpPr>
          <p:cNvPr id="12" name="Rectángulo 11"/>
          <p:cNvSpPr/>
          <p:nvPr/>
        </p:nvSpPr>
        <p:spPr>
          <a:xfrm>
            <a:off x="4986309" y="3558445"/>
            <a:ext cx="2239648" cy="216059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20000"/>
              </a:lnSpc>
              <a:defRPr/>
            </a:pPr>
            <a:r>
              <a:rPr lang="es-ES" altLang="es-ES" sz="1600">
                <a:solidFill>
                  <a:srgbClr val="212B6C"/>
                </a:solidFill>
              </a:rPr>
              <a:t>Utilización de las TIC para acelerar los cambios y facilitar “nuevas formas de hacer” en todas nuestras áreas de actuación.</a:t>
            </a:r>
          </a:p>
        </p:txBody>
      </p:sp>
      <p:pic>
        <p:nvPicPr>
          <p:cNvPr id="13" name="Imagen 1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5554873" y="1618800"/>
            <a:ext cx="1102520" cy="960041"/>
          </a:xfrm>
          <a:prstGeom prst="rect">
            <a:avLst/>
          </a:prstGeom>
        </p:spPr>
      </p:pic>
      <p:sp>
        <p:nvSpPr>
          <p:cNvPr id="14" name="Rectángulo 13"/>
          <p:cNvSpPr/>
          <p:nvPr/>
        </p:nvSpPr>
        <p:spPr>
          <a:xfrm>
            <a:off x="5600497" y="1871731"/>
            <a:ext cx="1011592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s-ES" altLang="es-ES" sz="2000" b="1">
                <a:solidFill>
                  <a:srgbClr val="0FA8DC"/>
                </a:solidFill>
              </a:rPr>
              <a:t>EJE 9</a:t>
            </a:r>
          </a:p>
        </p:txBody>
      </p:sp>
      <p:sp>
        <p:nvSpPr>
          <p:cNvPr id="15" name="Rectángulo 14"/>
          <p:cNvSpPr/>
          <p:nvPr/>
        </p:nvSpPr>
        <p:spPr>
          <a:xfrm>
            <a:off x="5012726" y="2640228"/>
            <a:ext cx="2166551" cy="518984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 eaLnBrk="0" hangingPunct="0">
              <a:defRPr>
                <a:solidFill>
                  <a:srgbClr val="000099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1pPr>
            <a:lvl2pPr marL="742950" indent="-285750" eaLnBrk="0" hangingPunct="0">
              <a:defRPr>
                <a:solidFill>
                  <a:srgbClr val="000099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>
                <a:solidFill>
                  <a:srgbClr val="000099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>
                <a:solidFill>
                  <a:srgbClr val="000099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>
                <a:solidFill>
                  <a:srgbClr val="000099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5pPr>
            <a:lvl6pPr marL="2514600" indent="-228600" algn="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99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6pPr>
            <a:lvl7pPr marL="2971800" indent="-228600" algn="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99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7pPr>
            <a:lvl8pPr marL="3429000" indent="-228600" algn="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99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8pPr>
            <a:lvl9pPr marL="3886200" indent="-228600" algn="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99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9pPr>
          </a:lstStyle>
          <a:p>
            <a:pPr algn="ctr" eaLnBrk="1" hangingPunct="1">
              <a:spcAft>
                <a:spcPts val="300"/>
              </a:spcAft>
            </a:pPr>
            <a:r>
              <a:rPr lang="es-ES" altLang="es-ES" sz="2000" b="1">
                <a:solidFill>
                  <a:srgbClr val="212B6C"/>
                </a:solidFill>
                <a:latin typeface="+mn-lt"/>
              </a:rPr>
              <a:t>TIC</a:t>
            </a:r>
          </a:p>
        </p:txBody>
      </p:sp>
      <p:pic>
        <p:nvPicPr>
          <p:cNvPr id="16" name="Imagen 1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200000">
            <a:off x="4447309" y="2679762"/>
            <a:ext cx="375689" cy="3831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406000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2"/>
          <p:cNvSpPr txBox="1">
            <a:spLocks/>
          </p:cNvSpPr>
          <p:nvPr/>
        </p:nvSpPr>
        <p:spPr>
          <a:xfrm>
            <a:off x="295135" y="257605"/>
            <a:ext cx="6500922" cy="294330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ES" altLang="es-ES" sz="2200" b="1">
                <a:solidFill>
                  <a:srgbClr val="0FA8DC"/>
                </a:solidFill>
                <a:latin typeface="+mn-lt"/>
              </a:rPr>
              <a:t>Nuestro 7+2 : </a:t>
            </a:r>
            <a:r>
              <a:rPr lang="es-ES" altLang="es-ES" sz="2200">
                <a:solidFill>
                  <a:srgbClr val="0FA8DC"/>
                </a:solidFill>
                <a:latin typeface="+mn-lt"/>
              </a:rPr>
              <a:t>Mapa estratégico H12O 2015-2019</a:t>
            </a:r>
          </a:p>
        </p:txBody>
      </p:sp>
      <p:grpSp>
        <p:nvGrpSpPr>
          <p:cNvPr id="85" name="Grupo 84"/>
          <p:cNvGrpSpPr/>
          <p:nvPr/>
        </p:nvGrpSpPr>
        <p:grpSpPr>
          <a:xfrm>
            <a:off x="494270" y="963453"/>
            <a:ext cx="9264851" cy="5088279"/>
            <a:chOff x="494270" y="963453"/>
            <a:chExt cx="9264851" cy="5088279"/>
          </a:xfrm>
        </p:grpSpPr>
        <p:sp>
          <p:nvSpPr>
            <p:cNvPr id="2" name="Rectángulo redondeado 1"/>
            <p:cNvSpPr/>
            <p:nvPr/>
          </p:nvSpPr>
          <p:spPr>
            <a:xfrm>
              <a:off x="1816100" y="2179204"/>
              <a:ext cx="1250950" cy="2612506"/>
            </a:xfrm>
            <a:prstGeom prst="roundRect">
              <a:avLst/>
            </a:prstGeom>
            <a:solidFill>
              <a:schemeClr val="accent6">
                <a:lumMod val="20000"/>
                <a:lumOff val="80000"/>
                <a:alpha val="31000"/>
              </a:schemeClr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/>
            </a:p>
          </p:txBody>
        </p:sp>
        <p:sp>
          <p:nvSpPr>
            <p:cNvPr id="3" name="Rectángulo redondeado 2"/>
            <p:cNvSpPr/>
            <p:nvPr/>
          </p:nvSpPr>
          <p:spPr>
            <a:xfrm>
              <a:off x="3079750" y="2160154"/>
              <a:ext cx="1250950" cy="2612506"/>
            </a:xfrm>
            <a:prstGeom prst="roundRect">
              <a:avLst/>
            </a:prstGeom>
            <a:solidFill>
              <a:schemeClr val="accent6">
                <a:lumMod val="20000"/>
                <a:lumOff val="80000"/>
                <a:alpha val="31000"/>
              </a:schemeClr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/>
            </a:p>
          </p:txBody>
        </p:sp>
        <p:sp>
          <p:nvSpPr>
            <p:cNvPr id="4" name="Rectángulo redondeado 3"/>
            <p:cNvSpPr/>
            <p:nvPr/>
          </p:nvSpPr>
          <p:spPr>
            <a:xfrm>
              <a:off x="8091785" y="2127871"/>
              <a:ext cx="1229196" cy="2612506"/>
            </a:xfrm>
            <a:prstGeom prst="roundRect">
              <a:avLst/>
            </a:prstGeom>
            <a:solidFill>
              <a:schemeClr val="accent6">
                <a:lumMod val="20000"/>
                <a:lumOff val="80000"/>
                <a:alpha val="31000"/>
              </a:schemeClr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/>
            </a:p>
          </p:txBody>
        </p:sp>
        <p:sp>
          <p:nvSpPr>
            <p:cNvPr id="5" name="Rectángulo redondeado 4"/>
            <p:cNvSpPr/>
            <p:nvPr/>
          </p:nvSpPr>
          <p:spPr>
            <a:xfrm>
              <a:off x="4343400" y="2153804"/>
              <a:ext cx="1250950" cy="2612506"/>
            </a:xfrm>
            <a:prstGeom prst="roundRect">
              <a:avLst/>
            </a:prstGeom>
            <a:solidFill>
              <a:schemeClr val="accent6">
                <a:lumMod val="20000"/>
                <a:lumOff val="80000"/>
                <a:alpha val="31000"/>
              </a:schemeClr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/>
            </a:p>
          </p:txBody>
        </p:sp>
        <p:sp>
          <p:nvSpPr>
            <p:cNvPr id="6" name="Rectángulo redondeado 5"/>
            <p:cNvSpPr/>
            <p:nvPr/>
          </p:nvSpPr>
          <p:spPr>
            <a:xfrm>
              <a:off x="5619750" y="2153804"/>
              <a:ext cx="1176307" cy="2612506"/>
            </a:xfrm>
            <a:prstGeom prst="roundRect">
              <a:avLst/>
            </a:prstGeom>
            <a:solidFill>
              <a:schemeClr val="accent6">
                <a:lumMod val="20000"/>
                <a:lumOff val="80000"/>
                <a:alpha val="31000"/>
              </a:schemeClr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/>
            </a:p>
          </p:txBody>
        </p:sp>
        <p:sp>
          <p:nvSpPr>
            <p:cNvPr id="7" name="Rectángulo redondeado 6"/>
            <p:cNvSpPr/>
            <p:nvPr/>
          </p:nvSpPr>
          <p:spPr>
            <a:xfrm>
              <a:off x="6830306" y="2128854"/>
              <a:ext cx="1250950" cy="2631519"/>
            </a:xfrm>
            <a:prstGeom prst="roundRect">
              <a:avLst/>
            </a:prstGeom>
            <a:solidFill>
              <a:schemeClr val="accent6">
                <a:lumMod val="20000"/>
                <a:lumOff val="80000"/>
                <a:alpha val="31000"/>
              </a:schemeClr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/>
            </a:p>
          </p:txBody>
        </p:sp>
        <p:sp>
          <p:nvSpPr>
            <p:cNvPr id="8" name="Rectángulo redondeado 7"/>
            <p:cNvSpPr/>
            <p:nvPr/>
          </p:nvSpPr>
          <p:spPr>
            <a:xfrm>
              <a:off x="539750" y="2179204"/>
              <a:ext cx="1250950" cy="2612506"/>
            </a:xfrm>
            <a:prstGeom prst="roundRect">
              <a:avLst/>
            </a:prstGeom>
            <a:solidFill>
              <a:schemeClr val="accent6">
                <a:lumMod val="20000"/>
                <a:lumOff val="80000"/>
                <a:alpha val="31000"/>
              </a:schemeClr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/>
            </a:p>
          </p:txBody>
        </p:sp>
        <p:sp>
          <p:nvSpPr>
            <p:cNvPr id="10" name="Rectángulo redondeado 9"/>
            <p:cNvSpPr/>
            <p:nvPr/>
          </p:nvSpPr>
          <p:spPr>
            <a:xfrm>
              <a:off x="601362" y="1554842"/>
              <a:ext cx="1186249" cy="576155"/>
            </a:xfrm>
            <a:prstGeom prst="roundRect">
              <a:avLst/>
            </a:prstGeom>
            <a:solidFill>
              <a:schemeClr val="bg1"/>
            </a:solidFill>
            <a:ln w="28575">
              <a:solidFill>
                <a:srgbClr val="212B6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/>
            </a:p>
          </p:txBody>
        </p:sp>
        <p:sp>
          <p:nvSpPr>
            <p:cNvPr id="11" name="Rectángulo 10"/>
            <p:cNvSpPr/>
            <p:nvPr/>
          </p:nvSpPr>
          <p:spPr>
            <a:xfrm>
              <a:off x="494270" y="1554348"/>
              <a:ext cx="1416908" cy="568412"/>
            </a:xfrm>
            <a:prstGeom prst="rect">
              <a:avLst/>
            </a:prstGeom>
            <a:no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>
              <a:lvl1pPr eaLnBrk="0" hangingPunct="0"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1pPr>
              <a:lvl2pPr marL="742950" indent="-285750" eaLnBrk="0" hangingPunct="0"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2pPr>
              <a:lvl3pPr marL="1143000" indent="-228600" eaLnBrk="0" hangingPunct="0"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3pPr>
              <a:lvl4pPr marL="1600200" indent="-228600" eaLnBrk="0" hangingPunct="0"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4pPr>
              <a:lvl5pPr marL="2057400" indent="-228600" eaLnBrk="0" hangingPunct="0"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5pPr>
              <a:lvl6pPr marL="25146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6pPr>
              <a:lvl7pPr marL="29718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7pPr>
              <a:lvl8pPr marL="34290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8pPr>
              <a:lvl9pPr marL="38862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9pPr>
            </a:lstStyle>
            <a:p>
              <a:pPr algn="ctr" eaLnBrk="1" hangingPunct="1">
                <a:spcAft>
                  <a:spcPts val="300"/>
                </a:spcAft>
              </a:pPr>
              <a:r>
                <a:rPr lang="es-ES" altLang="es-ES" sz="1200" b="1">
                  <a:solidFill>
                    <a:srgbClr val="212B6C"/>
                  </a:solidFill>
                  <a:latin typeface="+mn-lt"/>
                </a:rPr>
                <a:t>Paciente</a:t>
              </a:r>
            </a:p>
          </p:txBody>
        </p:sp>
        <p:pic>
          <p:nvPicPr>
            <p:cNvPr id="12" name="Imagen 11"/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rot="5400000">
              <a:off x="831055" y="1055844"/>
              <a:ext cx="728676" cy="634509"/>
            </a:xfrm>
            <a:prstGeom prst="rect">
              <a:avLst/>
            </a:prstGeom>
          </p:spPr>
        </p:pic>
        <p:sp>
          <p:nvSpPr>
            <p:cNvPr id="13" name="Rectángulo 12"/>
            <p:cNvSpPr>
              <a:spLocks noChangeArrowheads="1"/>
            </p:cNvSpPr>
            <p:nvPr/>
          </p:nvSpPr>
          <p:spPr bwMode="auto">
            <a:xfrm>
              <a:off x="894299" y="1165277"/>
              <a:ext cx="634313" cy="313038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anchor="ctr"/>
            <a:lstStyle>
              <a:lvl1pPr eaLnBrk="0" hangingPunct="0"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1pPr>
              <a:lvl2pPr marL="742950" indent="-285750" eaLnBrk="0" hangingPunct="0"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2pPr>
              <a:lvl3pPr marL="1143000" indent="-228600" eaLnBrk="0" hangingPunct="0"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3pPr>
              <a:lvl4pPr marL="1600200" indent="-228600" eaLnBrk="0" hangingPunct="0"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4pPr>
              <a:lvl5pPr marL="2057400" indent="-228600" eaLnBrk="0" hangingPunct="0"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5pPr>
              <a:lvl6pPr marL="25146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6pPr>
              <a:lvl7pPr marL="29718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7pPr>
              <a:lvl8pPr marL="34290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8pPr>
              <a:lvl9pPr marL="38862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9pPr>
            </a:lstStyle>
            <a:p>
              <a:pPr algn="ctr" eaLnBrk="1" hangingPunct="1"/>
              <a:r>
                <a:rPr lang="es-ES" altLang="es-ES" sz="1200">
                  <a:solidFill>
                    <a:srgbClr val="0FA8DC"/>
                  </a:solidFill>
                  <a:latin typeface="+mn-lt"/>
                </a:rPr>
                <a:t>EJE 1</a:t>
              </a:r>
            </a:p>
          </p:txBody>
        </p:sp>
        <p:sp>
          <p:nvSpPr>
            <p:cNvPr id="14" name="Rectángulo redondeado 13"/>
            <p:cNvSpPr/>
            <p:nvPr/>
          </p:nvSpPr>
          <p:spPr>
            <a:xfrm>
              <a:off x="533399" y="5441950"/>
              <a:ext cx="8826031" cy="609782"/>
            </a:xfrm>
            <a:prstGeom prst="roundRect">
              <a:avLst/>
            </a:prstGeom>
            <a:solidFill>
              <a:schemeClr val="accent6">
                <a:lumMod val="20000"/>
                <a:lumOff val="80000"/>
              </a:schemeClr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/>
            </a:p>
          </p:txBody>
        </p:sp>
        <p:sp>
          <p:nvSpPr>
            <p:cNvPr id="15" name="Rectángulo redondeado 14"/>
            <p:cNvSpPr/>
            <p:nvPr/>
          </p:nvSpPr>
          <p:spPr>
            <a:xfrm>
              <a:off x="532150" y="4811725"/>
              <a:ext cx="8841925" cy="609782"/>
            </a:xfrm>
            <a:prstGeom prst="roundRect">
              <a:avLst/>
            </a:prstGeom>
            <a:solidFill>
              <a:schemeClr val="accent6">
                <a:lumMod val="20000"/>
                <a:lumOff val="80000"/>
              </a:schemeClr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/>
            </a:p>
          </p:txBody>
        </p:sp>
        <p:sp>
          <p:nvSpPr>
            <p:cNvPr id="16" name="Rectángulo 5"/>
            <p:cNvSpPr>
              <a:spLocks noChangeArrowheads="1"/>
            </p:cNvSpPr>
            <p:nvPr/>
          </p:nvSpPr>
          <p:spPr bwMode="auto">
            <a:xfrm>
              <a:off x="573473" y="2166991"/>
              <a:ext cx="1193449" cy="64633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 algn="r">
                <a:defRPr sz="2800"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1pPr>
              <a:lvl2pPr marL="742950" indent="-285750" algn="r">
                <a:defRPr sz="2800"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2pPr>
              <a:lvl3pPr marL="1143000" indent="-228600" algn="r">
                <a:defRPr sz="2800"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3pPr>
              <a:lvl4pPr marL="1600200" indent="-228600" algn="r">
                <a:defRPr sz="2800"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4pPr>
              <a:lvl5pPr marL="2057400" indent="-228600" algn="r">
                <a:defRPr sz="2800"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5pPr>
              <a:lvl6pPr marL="25146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6pPr>
              <a:lvl7pPr marL="29718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7pPr>
              <a:lvl8pPr marL="34290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8pPr>
              <a:lvl9pPr marL="38862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9pPr>
            </a:lstStyle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r>
                <a:rPr lang="es-ES" altLang="es-ES" sz="600">
                  <a:solidFill>
                    <a:srgbClr val="212B6C"/>
                  </a:solidFill>
                  <a:latin typeface="+mn-lt"/>
                </a:rPr>
                <a:t>1.1 Avanzar en la humanización de la asistencia en todas las áreas del Hospital, integrando a pacientes, familia y profesionales</a:t>
              </a:r>
            </a:p>
          </p:txBody>
        </p:sp>
        <p:sp>
          <p:nvSpPr>
            <p:cNvPr id="17" name="Rectángulo 7"/>
            <p:cNvSpPr>
              <a:spLocks noChangeArrowheads="1"/>
            </p:cNvSpPr>
            <p:nvPr/>
          </p:nvSpPr>
          <p:spPr bwMode="auto">
            <a:xfrm>
              <a:off x="573419" y="2863350"/>
              <a:ext cx="1241629" cy="3693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 algn="r">
                <a:defRPr sz="2800"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1pPr>
              <a:lvl2pPr marL="742950" indent="-285750" algn="r">
                <a:defRPr sz="2800"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2pPr>
              <a:lvl3pPr marL="1143000" indent="-228600" algn="r">
                <a:defRPr sz="2800"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3pPr>
              <a:lvl4pPr marL="1600200" indent="-228600" algn="r">
                <a:defRPr sz="2800"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4pPr>
              <a:lvl5pPr marL="2057400" indent="-228600" algn="r">
                <a:defRPr sz="2800"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5pPr>
              <a:lvl6pPr marL="25146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6pPr>
              <a:lvl7pPr marL="29718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7pPr>
              <a:lvl8pPr marL="34290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8pPr>
              <a:lvl9pPr marL="38862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9pPr>
            </a:lstStyle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r>
                <a:rPr lang="es-ES" altLang="es-ES" sz="600">
                  <a:solidFill>
                    <a:srgbClr val="212B6C"/>
                  </a:solidFill>
                  <a:latin typeface="+mn-lt"/>
                </a:rPr>
                <a:t>1.2 Mejorar la accesibilidad y el confort de pacientes y familiares</a:t>
              </a:r>
            </a:p>
          </p:txBody>
        </p:sp>
        <p:sp>
          <p:nvSpPr>
            <p:cNvPr id="18" name="Rectángulo 13"/>
            <p:cNvSpPr>
              <a:spLocks noChangeArrowheads="1"/>
            </p:cNvSpPr>
            <p:nvPr/>
          </p:nvSpPr>
          <p:spPr bwMode="auto">
            <a:xfrm>
              <a:off x="573407" y="3389132"/>
              <a:ext cx="1193515" cy="55399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 algn="r">
                <a:defRPr sz="2800"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1pPr>
              <a:lvl2pPr marL="742950" indent="-285750" algn="r">
                <a:defRPr sz="2800"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2pPr>
              <a:lvl3pPr marL="1143000" indent="-228600" algn="r">
                <a:defRPr sz="2800"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3pPr>
              <a:lvl4pPr marL="1600200" indent="-228600" algn="r">
                <a:defRPr sz="2800"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4pPr>
              <a:lvl5pPr marL="2057400" indent="-228600" algn="r">
                <a:defRPr sz="2800"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5pPr>
              <a:lvl6pPr marL="25146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6pPr>
              <a:lvl7pPr marL="29718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7pPr>
              <a:lvl8pPr marL="34290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8pPr>
              <a:lvl9pPr marL="38862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9pPr>
            </a:lstStyle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r>
                <a:rPr lang="es-ES" altLang="es-ES" sz="600">
                  <a:solidFill>
                    <a:srgbClr val="212B6C"/>
                  </a:solidFill>
                  <a:latin typeface="+mn-lt"/>
                </a:rPr>
                <a:t>1.3 Consolidar el compromiso por la seguridad, dirigido a minimizar los riesgos y daños innecesarios para los pacientes</a:t>
              </a:r>
            </a:p>
          </p:txBody>
        </p:sp>
        <p:sp>
          <p:nvSpPr>
            <p:cNvPr id="19" name="Rectángulo 74"/>
            <p:cNvSpPr>
              <a:spLocks noChangeArrowheads="1"/>
            </p:cNvSpPr>
            <p:nvPr/>
          </p:nvSpPr>
          <p:spPr bwMode="auto">
            <a:xfrm>
              <a:off x="573407" y="4092905"/>
              <a:ext cx="1227891" cy="55399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 algn="r">
                <a:defRPr sz="2800"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1pPr>
              <a:lvl2pPr marL="742950" indent="-285750" algn="r">
                <a:defRPr sz="2800"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2pPr>
              <a:lvl3pPr marL="1143000" indent="-228600" algn="r">
                <a:defRPr sz="2800"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3pPr>
              <a:lvl4pPr marL="1600200" indent="-228600" algn="r">
                <a:defRPr sz="2800"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4pPr>
              <a:lvl5pPr marL="2057400" indent="-228600" algn="r">
                <a:defRPr sz="2800"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5pPr>
              <a:lvl6pPr marL="25146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6pPr>
              <a:lvl7pPr marL="29718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7pPr>
              <a:lvl8pPr marL="34290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8pPr>
              <a:lvl9pPr marL="38862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9pPr>
            </a:lstStyle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r>
                <a:rPr lang="es-ES" altLang="es-ES" sz="600">
                  <a:solidFill>
                    <a:srgbClr val="212B6C"/>
                  </a:solidFill>
                  <a:latin typeface="+mn-lt"/>
                </a:rPr>
                <a:t>1.4 Aumentar la participación de los pacientes en las decisiones y fomentar la corresponsabilidad en su salud y el autocuidado</a:t>
              </a:r>
            </a:p>
          </p:txBody>
        </p:sp>
        <p:sp>
          <p:nvSpPr>
            <p:cNvPr id="20" name="Rectángulo 19"/>
            <p:cNvSpPr/>
            <p:nvPr/>
          </p:nvSpPr>
          <p:spPr>
            <a:xfrm>
              <a:off x="588520" y="4887967"/>
              <a:ext cx="1205904" cy="46166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s-ES" altLang="es-ES" sz="600">
                  <a:solidFill>
                    <a:srgbClr val="212B6C"/>
                  </a:solidFill>
                  <a:ea typeface="+mn-ea"/>
                </a:rPr>
                <a:t>1.5 Fomentar colaboraciones orientadas a la humanización, el confort y la promoción de autocuidados</a:t>
              </a:r>
            </a:p>
          </p:txBody>
        </p:sp>
        <p:sp>
          <p:nvSpPr>
            <p:cNvPr id="21" name="Rectángulo 20"/>
            <p:cNvSpPr/>
            <p:nvPr/>
          </p:nvSpPr>
          <p:spPr>
            <a:xfrm>
              <a:off x="583699" y="5530925"/>
              <a:ext cx="1162599" cy="3693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s-ES" altLang="es-ES" sz="600">
                  <a:solidFill>
                    <a:srgbClr val="212B6C"/>
                  </a:solidFill>
                  <a:ea typeface="+mn-ea"/>
                </a:rPr>
                <a:t>1.6 Facilitar la aplicación de TIC para acercar el hospital al paciente</a:t>
              </a:r>
            </a:p>
          </p:txBody>
        </p:sp>
        <p:sp>
          <p:nvSpPr>
            <p:cNvPr id="22" name="Rectángulo redondeado 21"/>
            <p:cNvSpPr/>
            <p:nvPr/>
          </p:nvSpPr>
          <p:spPr>
            <a:xfrm>
              <a:off x="1849395" y="1550724"/>
              <a:ext cx="1186249" cy="576155"/>
            </a:xfrm>
            <a:prstGeom prst="roundRect">
              <a:avLst/>
            </a:prstGeom>
            <a:solidFill>
              <a:schemeClr val="bg1"/>
            </a:solidFill>
            <a:ln w="28575">
              <a:solidFill>
                <a:srgbClr val="212B6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/>
            </a:p>
          </p:txBody>
        </p:sp>
        <p:sp>
          <p:nvSpPr>
            <p:cNvPr id="23" name="Rectángulo 22"/>
            <p:cNvSpPr/>
            <p:nvPr/>
          </p:nvSpPr>
          <p:spPr>
            <a:xfrm>
              <a:off x="1742303" y="1615670"/>
              <a:ext cx="1416908" cy="577516"/>
            </a:xfrm>
            <a:prstGeom prst="rect">
              <a:avLst/>
            </a:prstGeom>
            <a:no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>
              <a:lvl1pPr eaLnBrk="0" hangingPunct="0"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1pPr>
              <a:lvl2pPr marL="742950" indent="-285750" eaLnBrk="0" hangingPunct="0"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2pPr>
              <a:lvl3pPr marL="1143000" indent="-228600" eaLnBrk="0" hangingPunct="0"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3pPr>
              <a:lvl4pPr marL="1600200" indent="-228600" eaLnBrk="0" hangingPunct="0"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4pPr>
              <a:lvl5pPr marL="2057400" indent="-228600" eaLnBrk="0" hangingPunct="0"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5pPr>
              <a:lvl6pPr marL="25146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6pPr>
              <a:lvl7pPr marL="29718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7pPr>
              <a:lvl8pPr marL="34290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8pPr>
              <a:lvl9pPr marL="38862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9pPr>
            </a:lstStyle>
            <a:p>
              <a:pPr algn="ctr" eaLnBrk="1" hangingPunct="1">
                <a:spcAft>
                  <a:spcPts val="300"/>
                </a:spcAft>
              </a:pPr>
              <a:r>
                <a:rPr lang="es-ES" altLang="es-ES" sz="1200" b="1">
                  <a:solidFill>
                    <a:srgbClr val="212B6C"/>
                  </a:solidFill>
                  <a:latin typeface="+mn-lt"/>
                </a:rPr>
                <a:t>Organización Asistencial</a:t>
              </a:r>
            </a:p>
          </p:txBody>
        </p:sp>
        <p:pic>
          <p:nvPicPr>
            <p:cNvPr id="24" name="Imagen 23"/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rot="5400000">
              <a:off x="2079088" y="1051726"/>
              <a:ext cx="728676" cy="634509"/>
            </a:xfrm>
            <a:prstGeom prst="rect">
              <a:avLst/>
            </a:prstGeom>
          </p:spPr>
        </p:pic>
        <p:sp>
          <p:nvSpPr>
            <p:cNvPr id="25" name="Rectángulo 24"/>
            <p:cNvSpPr>
              <a:spLocks noChangeArrowheads="1"/>
            </p:cNvSpPr>
            <p:nvPr/>
          </p:nvSpPr>
          <p:spPr bwMode="auto">
            <a:xfrm>
              <a:off x="2142332" y="1161159"/>
              <a:ext cx="634313" cy="313038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anchor="ctr"/>
            <a:lstStyle>
              <a:lvl1pPr eaLnBrk="0" hangingPunct="0"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1pPr>
              <a:lvl2pPr marL="742950" indent="-285750" eaLnBrk="0" hangingPunct="0"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2pPr>
              <a:lvl3pPr marL="1143000" indent="-228600" eaLnBrk="0" hangingPunct="0"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3pPr>
              <a:lvl4pPr marL="1600200" indent="-228600" eaLnBrk="0" hangingPunct="0"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4pPr>
              <a:lvl5pPr marL="2057400" indent="-228600" eaLnBrk="0" hangingPunct="0"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5pPr>
              <a:lvl6pPr marL="25146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6pPr>
              <a:lvl7pPr marL="29718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7pPr>
              <a:lvl8pPr marL="34290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8pPr>
              <a:lvl9pPr marL="38862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9pPr>
            </a:lstStyle>
            <a:p>
              <a:pPr algn="ctr" eaLnBrk="1" hangingPunct="1"/>
              <a:r>
                <a:rPr lang="es-ES" altLang="es-ES" sz="1200">
                  <a:solidFill>
                    <a:srgbClr val="0FA8DC"/>
                  </a:solidFill>
                  <a:latin typeface="+mn-lt"/>
                </a:rPr>
                <a:t>EJE 2</a:t>
              </a:r>
            </a:p>
          </p:txBody>
        </p:sp>
        <p:sp>
          <p:nvSpPr>
            <p:cNvPr id="26" name="Rectángulo redondeado 25"/>
            <p:cNvSpPr/>
            <p:nvPr/>
          </p:nvSpPr>
          <p:spPr>
            <a:xfrm>
              <a:off x="3101548" y="1542485"/>
              <a:ext cx="1186249" cy="576155"/>
            </a:xfrm>
            <a:prstGeom prst="roundRect">
              <a:avLst/>
            </a:prstGeom>
            <a:solidFill>
              <a:schemeClr val="bg1"/>
            </a:solidFill>
            <a:ln w="28575">
              <a:solidFill>
                <a:srgbClr val="212B6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/>
            </a:p>
          </p:txBody>
        </p:sp>
        <p:sp>
          <p:nvSpPr>
            <p:cNvPr id="27" name="Rectángulo 26"/>
            <p:cNvSpPr/>
            <p:nvPr/>
          </p:nvSpPr>
          <p:spPr>
            <a:xfrm>
              <a:off x="2994456" y="1541991"/>
              <a:ext cx="1416908" cy="568412"/>
            </a:xfrm>
            <a:prstGeom prst="rect">
              <a:avLst/>
            </a:prstGeom>
            <a:no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>
              <a:lvl1pPr eaLnBrk="0" hangingPunct="0"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1pPr>
              <a:lvl2pPr marL="742950" indent="-285750" eaLnBrk="0" hangingPunct="0"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2pPr>
              <a:lvl3pPr marL="1143000" indent="-228600" eaLnBrk="0" hangingPunct="0"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3pPr>
              <a:lvl4pPr marL="1600200" indent="-228600" eaLnBrk="0" hangingPunct="0"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4pPr>
              <a:lvl5pPr marL="2057400" indent="-228600" eaLnBrk="0" hangingPunct="0"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5pPr>
              <a:lvl6pPr marL="25146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6pPr>
              <a:lvl7pPr marL="29718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7pPr>
              <a:lvl8pPr marL="34290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8pPr>
              <a:lvl9pPr marL="38862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9pPr>
            </a:lstStyle>
            <a:p>
              <a:pPr algn="ctr" eaLnBrk="1" hangingPunct="1">
                <a:spcAft>
                  <a:spcPts val="300"/>
                </a:spcAft>
              </a:pPr>
              <a:r>
                <a:rPr lang="es-ES" altLang="es-ES" sz="1200" b="1">
                  <a:solidFill>
                    <a:srgbClr val="212B6C"/>
                  </a:solidFill>
                  <a:latin typeface="+mn-lt"/>
                </a:rPr>
                <a:t>Referencias</a:t>
              </a:r>
            </a:p>
          </p:txBody>
        </p:sp>
        <p:pic>
          <p:nvPicPr>
            <p:cNvPr id="28" name="Imagen 27"/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rot="5400000">
              <a:off x="3331241" y="1043487"/>
              <a:ext cx="728676" cy="634509"/>
            </a:xfrm>
            <a:prstGeom prst="rect">
              <a:avLst/>
            </a:prstGeom>
          </p:spPr>
        </p:pic>
        <p:sp>
          <p:nvSpPr>
            <p:cNvPr id="29" name="Rectángulo 28"/>
            <p:cNvSpPr>
              <a:spLocks noChangeArrowheads="1"/>
            </p:cNvSpPr>
            <p:nvPr/>
          </p:nvSpPr>
          <p:spPr bwMode="auto">
            <a:xfrm>
              <a:off x="3394485" y="1152920"/>
              <a:ext cx="634313" cy="313038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anchor="ctr"/>
            <a:lstStyle>
              <a:lvl1pPr eaLnBrk="0" hangingPunct="0"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1pPr>
              <a:lvl2pPr marL="742950" indent="-285750" eaLnBrk="0" hangingPunct="0"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2pPr>
              <a:lvl3pPr marL="1143000" indent="-228600" eaLnBrk="0" hangingPunct="0"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3pPr>
              <a:lvl4pPr marL="1600200" indent="-228600" eaLnBrk="0" hangingPunct="0"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4pPr>
              <a:lvl5pPr marL="2057400" indent="-228600" eaLnBrk="0" hangingPunct="0"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5pPr>
              <a:lvl6pPr marL="25146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6pPr>
              <a:lvl7pPr marL="29718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7pPr>
              <a:lvl8pPr marL="34290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8pPr>
              <a:lvl9pPr marL="38862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9pPr>
            </a:lstStyle>
            <a:p>
              <a:pPr algn="ctr" eaLnBrk="1" hangingPunct="1"/>
              <a:r>
                <a:rPr lang="es-ES" altLang="es-ES" sz="1200">
                  <a:solidFill>
                    <a:srgbClr val="0FA8DC"/>
                  </a:solidFill>
                  <a:latin typeface="+mn-lt"/>
                </a:rPr>
                <a:t>EJE 3</a:t>
              </a:r>
            </a:p>
          </p:txBody>
        </p:sp>
        <p:sp>
          <p:nvSpPr>
            <p:cNvPr id="30" name="Rectángulo redondeado 29"/>
            <p:cNvSpPr/>
            <p:nvPr/>
          </p:nvSpPr>
          <p:spPr>
            <a:xfrm>
              <a:off x="4349581" y="1538367"/>
              <a:ext cx="1186249" cy="576155"/>
            </a:xfrm>
            <a:prstGeom prst="roundRect">
              <a:avLst/>
            </a:prstGeom>
            <a:solidFill>
              <a:schemeClr val="bg1"/>
            </a:solidFill>
            <a:ln w="28575">
              <a:solidFill>
                <a:srgbClr val="212B6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/>
            </a:p>
          </p:txBody>
        </p:sp>
        <p:sp>
          <p:nvSpPr>
            <p:cNvPr id="31" name="Rectángulo 30"/>
            <p:cNvSpPr/>
            <p:nvPr/>
          </p:nvSpPr>
          <p:spPr>
            <a:xfrm>
              <a:off x="4242489" y="1537873"/>
              <a:ext cx="1416908" cy="568412"/>
            </a:xfrm>
            <a:prstGeom prst="rect">
              <a:avLst/>
            </a:prstGeom>
            <a:no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>
              <a:lvl1pPr eaLnBrk="0" hangingPunct="0"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1pPr>
              <a:lvl2pPr marL="742950" indent="-285750" eaLnBrk="0" hangingPunct="0"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2pPr>
              <a:lvl3pPr marL="1143000" indent="-228600" eaLnBrk="0" hangingPunct="0"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3pPr>
              <a:lvl4pPr marL="1600200" indent="-228600" eaLnBrk="0" hangingPunct="0"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4pPr>
              <a:lvl5pPr marL="2057400" indent="-228600" eaLnBrk="0" hangingPunct="0"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5pPr>
              <a:lvl6pPr marL="25146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6pPr>
              <a:lvl7pPr marL="29718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7pPr>
              <a:lvl8pPr marL="34290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8pPr>
              <a:lvl9pPr marL="38862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9pPr>
            </a:lstStyle>
            <a:p>
              <a:pPr algn="ctr" eaLnBrk="1" hangingPunct="1">
                <a:spcAft>
                  <a:spcPts val="300"/>
                </a:spcAft>
              </a:pPr>
              <a:r>
                <a:rPr lang="es-ES" altLang="es-ES" sz="1200" b="1">
                  <a:solidFill>
                    <a:srgbClr val="212B6C"/>
                  </a:solidFill>
                  <a:latin typeface="+mn-lt"/>
                </a:rPr>
                <a:t>Profesionales</a:t>
              </a:r>
            </a:p>
          </p:txBody>
        </p:sp>
        <p:pic>
          <p:nvPicPr>
            <p:cNvPr id="32" name="Imagen 31"/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rot="5400000">
              <a:off x="4579274" y="1039369"/>
              <a:ext cx="728676" cy="634509"/>
            </a:xfrm>
            <a:prstGeom prst="rect">
              <a:avLst/>
            </a:prstGeom>
          </p:spPr>
        </p:pic>
        <p:sp>
          <p:nvSpPr>
            <p:cNvPr id="33" name="Rectángulo 32"/>
            <p:cNvSpPr>
              <a:spLocks noChangeArrowheads="1"/>
            </p:cNvSpPr>
            <p:nvPr/>
          </p:nvSpPr>
          <p:spPr bwMode="auto">
            <a:xfrm>
              <a:off x="4642518" y="1148802"/>
              <a:ext cx="634313" cy="313038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anchor="ctr"/>
            <a:lstStyle>
              <a:lvl1pPr eaLnBrk="0" hangingPunct="0"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1pPr>
              <a:lvl2pPr marL="742950" indent="-285750" eaLnBrk="0" hangingPunct="0"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2pPr>
              <a:lvl3pPr marL="1143000" indent="-228600" eaLnBrk="0" hangingPunct="0"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3pPr>
              <a:lvl4pPr marL="1600200" indent="-228600" eaLnBrk="0" hangingPunct="0"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4pPr>
              <a:lvl5pPr marL="2057400" indent="-228600" eaLnBrk="0" hangingPunct="0"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5pPr>
              <a:lvl6pPr marL="25146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6pPr>
              <a:lvl7pPr marL="29718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7pPr>
              <a:lvl8pPr marL="34290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8pPr>
              <a:lvl9pPr marL="38862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9pPr>
            </a:lstStyle>
            <a:p>
              <a:pPr algn="ctr" eaLnBrk="1" hangingPunct="1"/>
              <a:r>
                <a:rPr lang="es-ES" altLang="es-ES" sz="1200">
                  <a:solidFill>
                    <a:srgbClr val="0FA8DC"/>
                  </a:solidFill>
                  <a:latin typeface="+mn-lt"/>
                </a:rPr>
                <a:t>EJE 4</a:t>
              </a:r>
            </a:p>
          </p:txBody>
        </p:sp>
        <p:sp>
          <p:nvSpPr>
            <p:cNvPr id="34" name="Rectángulo redondeado 33"/>
            <p:cNvSpPr/>
            <p:nvPr/>
          </p:nvSpPr>
          <p:spPr>
            <a:xfrm>
              <a:off x="5585256" y="1521891"/>
              <a:ext cx="1186249" cy="576155"/>
            </a:xfrm>
            <a:prstGeom prst="roundRect">
              <a:avLst/>
            </a:prstGeom>
            <a:solidFill>
              <a:schemeClr val="bg1"/>
            </a:solidFill>
            <a:ln w="28575">
              <a:solidFill>
                <a:srgbClr val="212B6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/>
            </a:p>
          </p:txBody>
        </p:sp>
        <p:sp>
          <p:nvSpPr>
            <p:cNvPr id="35" name="Rectángulo 34"/>
            <p:cNvSpPr/>
            <p:nvPr/>
          </p:nvSpPr>
          <p:spPr>
            <a:xfrm>
              <a:off x="5478164" y="1521397"/>
              <a:ext cx="1416908" cy="568412"/>
            </a:xfrm>
            <a:prstGeom prst="rect">
              <a:avLst/>
            </a:prstGeom>
            <a:no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>
              <a:lvl1pPr eaLnBrk="0" hangingPunct="0"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1pPr>
              <a:lvl2pPr marL="742950" indent="-285750" eaLnBrk="0" hangingPunct="0"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2pPr>
              <a:lvl3pPr marL="1143000" indent="-228600" eaLnBrk="0" hangingPunct="0"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3pPr>
              <a:lvl4pPr marL="1600200" indent="-228600" eaLnBrk="0" hangingPunct="0"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4pPr>
              <a:lvl5pPr marL="2057400" indent="-228600" eaLnBrk="0" hangingPunct="0"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5pPr>
              <a:lvl6pPr marL="25146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6pPr>
              <a:lvl7pPr marL="29718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7pPr>
              <a:lvl8pPr marL="34290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8pPr>
              <a:lvl9pPr marL="38862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9pPr>
            </a:lstStyle>
            <a:p>
              <a:pPr algn="ctr" eaLnBrk="1" hangingPunct="1">
                <a:spcAft>
                  <a:spcPts val="300"/>
                </a:spcAft>
              </a:pPr>
              <a:r>
                <a:rPr lang="es-ES" altLang="es-ES" sz="1200" b="1">
                  <a:solidFill>
                    <a:srgbClr val="212B6C"/>
                  </a:solidFill>
                  <a:latin typeface="+mn-lt"/>
                </a:rPr>
                <a:t>Innovación</a:t>
              </a:r>
            </a:p>
          </p:txBody>
        </p:sp>
        <p:pic>
          <p:nvPicPr>
            <p:cNvPr id="36" name="Imagen 35"/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rot="5400000">
              <a:off x="5814949" y="1022893"/>
              <a:ext cx="728676" cy="634509"/>
            </a:xfrm>
            <a:prstGeom prst="rect">
              <a:avLst/>
            </a:prstGeom>
          </p:spPr>
        </p:pic>
        <p:sp>
          <p:nvSpPr>
            <p:cNvPr id="37" name="Rectángulo 36"/>
            <p:cNvSpPr>
              <a:spLocks noChangeArrowheads="1"/>
            </p:cNvSpPr>
            <p:nvPr/>
          </p:nvSpPr>
          <p:spPr bwMode="auto">
            <a:xfrm>
              <a:off x="5878193" y="1132326"/>
              <a:ext cx="634313" cy="313038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anchor="ctr"/>
            <a:lstStyle>
              <a:lvl1pPr eaLnBrk="0" hangingPunct="0"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1pPr>
              <a:lvl2pPr marL="742950" indent="-285750" eaLnBrk="0" hangingPunct="0"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2pPr>
              <a:lvl3pPr marL="1143000" indent="-228600" eaLnBrk="0" hangingPunct="0"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3pPr>
              <a:lvl4pPr marL="1600200" indent="-228600" eaLnBrk="0" hangingPunct="0"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4pPr>
              <a:lvl5pPr marL="2057400" indent="-228600" eaLnBrk="0" hangingPunct="0"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5pPr>
              <a:lvl6pPr marL="25146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6pPr>
              <a:lvl7pPr marL="29718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7pPr>
              <a:lvl8pPr marL="34290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8pPr>
              <a:lvl9pPr marL="38862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9pPr>
            </a:lstStyle>
            <a:p>
              <a:pPr algn="ctr" eaLnBrk="1" hangingPunct="1"/>
              <a:r>
                <a:rPr lang="es-ES" altLang="es-ES" sz="1200">
                  <a:solidFill>
                    <a:srgbClr val="0FA8DC"/>
                  </a:solidFill>
                  <a:latin typeface="+mn-lt"/>
                </a:rPr>
                <a:t>EJE 5</a:t>
              </a:r>
            </a:p>
          </p:txBody>
        </p:sp>
        <p:sp>
          <p:nvSpPr>
            <p:cNvPr id="38" name="Rectángulo redondeado 37"/>
            <p:cNvSpPr/>
            <p:nvPr/>
          </p:nvSpPr>
          <p:spPr>
            <a:xfrm>
              <a:off x="6837409" y="1513652"/>
              <a:ext cx="1186249" cy="576155"/>
            </a:xfrm>
            <a:prstGeom prst="roundRect">
              <a:avLst/>
            </a:prstGeom>
            <a:solidFill>
              <a:schemeClr val="bg1"/>
            </a:solidFill>
            <a:ln w="28575">
              <a:solidFill>
                <a:srgbClr val="212B6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/>
            </a:p>
          </p:txBody>
        </p:sp>
        <p:sp>
          <p:nvSpPr>
            <p:cNvPr id="39" name="Rectángulo 38"/>
            <p:cNvSpPr/>
            <p:nvPr/>
          </p:nvSpPr>
          <p:spPr>
            <a:xfrm>
              <a:off x="6730317" y="1513158"/>
              <a:ext cx="1416908" cy="568412"/>
            </a:xfrm>
            <a:prstGeom prst="rect">
              <a:avLst/>
            </a:prstGeom>
            <a:no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>
              <a:lvl1pPr eaLnBrk="0" hangingPunct="0"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1pPr>
              <a:lvl2pPr marL="742950" indent="-285750" eaLnBrk="0" hangingPunct="0"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2pPr>
              <a:lvl3pPr marL="1143000" indent="-228600" eaLnBrk="0" hangingPunct="0"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3pPr>
              <a:lvl4pPr marL="1600200" indent="-228600" eaLnBrk="0" hangingPunct="0"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4pPr>
              <a:lvl5pPr marL="2057400" indent="-228600" eaLnBrk="0" hangingPunct="0"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5pPr>
              <a:lvl6pPr marL="25146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6pPr>
              <a:lvl7pPr marL="29718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7pPr>
              <a:lvl8pPr marL="34290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8pPr>
              <a:lvl9pPr marL="38862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9pPr>
            </a:lstStyle>
            <a:p>
              <a:pPr algn="ctr" eaLnBrk="1" hangingPunct="1">
                <a:spcAft>
                  <a:spcPts val="300"/>
                </a:spcAft>
              </a:pPr>
              <a:r>
                <a:rPr lang="es-ES" altLang="es-ES" sz="1200" b="1">
                  <a:solidFill>
                    <a:srgbClr val="212B6C"/>
                  </a:solidFill>
                  <a:latin typeface="+mn-lt"/>
                </a:rPr>
                <a:t>Docencia</a:t>
              </a:r>
            </a:p>
          </p:txBody>
        </p:sp>
        <p:pic>
          <p:nvPicPr>
            <p:cNvPr id="40" name="Imagen 39"/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rot="5400000">
              <a:off x="7067102" y="1014654"/>
              <a:ext cx="728676" cy="634509"/>
            </a:xfrm>
            <a:prstGeom prst="rect">
              <a:avLst/>
            </a:prstGeom>
          </p:spPr>
        </p:pic>
        <p:sp>
          <p:nvSpPr>
            <p:cNvPr id="41" name="Rectángulo 40"/>
            <p:cNvSpPr>
              <a:spLocks noChangeArrowheads="1"/>
            </p:cNvSpPr>
            <p:nvPr/>
          </p:nvSpPr>
          <p:spPr bwMode="auto">
            <a:xfrm>
              <a:off x="7130346" y="1124087"/>
              <a:ext cx="634313" cy="313038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anchor="ctr"/>
            <a:lstStyle>
              <a:lvl1pPr eaLnBrk="0" hangingPunct="0"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1pPr>
              <a:lvl2pPr marL="742950" indent="-285750" eaLnBrk="0" hangingPunct="0"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2pPr>
              <a:lvl3pPr marL="1143000" indent="-228600" eaLnBrk="0" hangingPunct="0"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3pPr>
              <a:lvl4pPr marL="1600200" indent="-228600" eaLnBrk="0" hangingPunct="0"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4pPr>
              <a:lvl5pPr marL="2057400" indent="-228600" eaLnBrk="0" hangingPunct="0"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5pPr>
              <a:lvl6pPr marL="25146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6pPr>
              <a:lvl7pPr marL="29718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7pPr>
              <a:lvl8pPr marL="34290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8pPr>
              <a:lvl9pPr marL="38862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9pPr>
            </a:lstStyle>
            <a:p>
              <a:pPr algn="ctr" eaLnBrk="1" hangingPunct="1"/>
              <a:r>
                <a:rPr lang="es-ES" altLang="es-ES" sz="1200">
                  <a:solidFill>
                    <a:srgbClr val="0FA8DC"/>
                  </a:solidFill>
                  <a:latin typeface="+mn-lt"/>
                </a:rPr>
                <a:t>EJE 6</a:t>
              </a:r>
            </a:p>
          </p:txBody>
        </p:sp>
        <p:sp>
          <p:nvSpPr>
            <p:cNvPr id="42" name="Rectángulo redondeado 41"/>
            <p:cNvSpPr/>
            <p:nvPr/>
          </p:nvSpPr>
          <p:spPr>
            <a:xfrm>
              <a:off x="8085442" y="1509534"/>
              <a:ext cx="1186249" cy="576155"/>
            </a:xfrm>
            <a:prstGeom prst="roundRect">
              <a:avLst/>
            </a:prstGeom>
            <a:solidFill>
              <a:schemeClr val="bg1"/>
            </a:solidFill>
            <a:ln w="28575">
              <a:solidFill>
                <a:srgbClr val="212B6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/>
            </a:p>
          </p:txBody>
        </p:sp>
        <p:sp>
          <p:nvSpPr>
            <p:cNvPr id="43" name="Rectángulo 42"/>
            <p:cNvSpPr/>
            <p:nvPr/>
          </p:nvSpPr>
          <p:spPr>
            <a:xfrm>
              <a:off x="7978350" y="1509040"/>
              <a:ext cx="1416908" cy="568412"/>
            </a:xfrm>
            <a:prstGeom prst="rect">
              <a:avLst/>
            </a:prstGeom>
            <a:no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>
              <a:lvl1pPr eaLnBrk="0" hangingPunct="0"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1pPr>
              <a:lvl2pPr marL="742950" indent="-285750" eaLnBrk="0" hangingPunct="0"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2pPr>
              <a:lvl3pPr marL="1143000" indent="-228600" eaLnBrk="0" hangingPunct="0"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3pPr>
              <a:lvl4pPr marL="1600200" indent="-228600" eaLnBrk="0" hangingPunct="0"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4pPr>
              <a:lvl5pPr marL="2057400" indent="-228600" eaLnBrk="0" hangingPunct="0"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5pPr>
              <a:lvl6pPr marL="25146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6pPr>
              <a:lvl7pPr marL="29718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7pPr>
              <a:lvl8pPr marL="34290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8pPr>
              <a:lvl9pPr marL="38862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9pPr>
            </a:lstStyle>
            <a:p>
              <a:pPr algn="ctr" eaLnBrk="1" hangingPunct="1">
                <a:spcAft>
                  <a:spcPts val="300"/>
                </a:spcAft>
              </a:pPr>
              <a:r>
                <a:rPr lang="es-ES" altLang="es-ES" sz="1200" b="1">
                  <a:solidFill>
                    <a:srgbClr val="212B6C"/>
                  </a:solidFill>
                  <a:latin typeface="+mn-lt"/>
                </a:rPr>
                <a:t>Sociedad</a:t>
              </a:r>
            </a:p>
          </p:txBody>
        </p:sp>
        <p:pic>
          <p:nvPicPr>
            <p:cNvPr id="44" name="Imagen 43"/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rot="5400000">
              <a:off x="8315135" y="1010536"/>
              <a:ext cx="728676" cy="634509"/>
            </a:xfrm>
            <a:prstGeom prst="rect">
              <a:avLst/>
            </a:prstGeom>
          </p:spPr>
        </p:pic>
        <p:sp>
          <p:nvSpPr>
            <p:cNvPr id="45" name="Rectángulo 44"/>
            <p:cNvSpPr>
              <a:spLocks noChangeArrowheads="1"/>
            </p:cNvSpPr>
            <p:nvPr/>
          </p:nvSpPr>
          <p:spPr bwMode="auto">
            <a:xfrm>
              <a:off x="8378379" y="1119969"/>
              <a:ext cx="634313" cy="313038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anchor="ctr"/>
            <a:lstStyle>
              <a:lvl1pPr eaLnBrk="0" hangingPunct="0"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1pPr>
              <a:lvl2pPr marL="742950" indent="-285750" eaLnBrk="0" hangingPunct="0"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2pPr>
              <a:lvl3pPr marL="1143000" indent="-228600" eaLnBrk="0" hangingPunct="0"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3pPr>
              <a:lvl4pPr marL="1600200" indent="-228600" eaLnBrk="0" hangingPunct="0"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4pPr>
              <a:lvl5pPr marL="2057400" indent="-228600" eaLnBrk="0" hangingPunct="0"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5pPr>
              <a:lvl6pPr marL="25146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6pPr>
              <a:lvl7pPr marL="29718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7pPr>
              <a:lvl8pPr marL="34290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8pPr>
              <a:lvl9pPr marL="38862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9pPr>
            </a:lstStyle>
            <a:p>
              <a:pPr algn="ctr" eaLnBrk="1" hangingPunct="1"/>
              <a:r>
                <a:rPr lang="es-ES" altLang="es-ES" sz="1200">
                  <a:solidFill>
                    <a:srgbClr val="0FA8DC"/>
                  </a:solidFill>
                  <a:latin typeface="+mn-lt"/>
                </a:rPr>
                <a:t>EJE 7</a:t>
              </a:r>
            </a:p>
          </p:txBody>
        </p:sp>
        <p:sp>
          <p:nvSpPr>
            <p:cNvPr id="46" name="Rectángulo 14"/>
            <p:cNvSpPr>
              <a:spLocks noChangeArrowheads="1"/>
            </p:cNvSpPr>
            <p:nvPr/>
          </p:nvSpPr>
          <p:spPr bwMode="auto">
            <a:xfrm>
              <a:off x="1941186" y="2166007"/>
              <a:ext cx="1119016" cy="2769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>
              <a:spAutoFit/>
            </a:bodyPr>
            <a:lstStyle>
              <a:lvl1pPr algn="r">
                <a:defRPr sz="2800"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1pPr>
              <a:lvl2pPr marL="742950" indent="-285750" algn="r">
                <a:defRPr sz="2800"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2pPr>
              <a:lvl3pPr marL="1143000" indent="-228600" algn="r">
                <a:defRPr sz="2800"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3pPr>
              <a:lvl4pPr marL="1600200" indent="-228600" algn="r">
                <a:defRPr sz="2800"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4pPr>
              <a:lvl5pPr marL="2057400" indent="-228600" algn="r">
                <a:defRPr sz="2800"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5pPr>
              <a:lvl6pPr marL="25146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6pPr>
              <a:lvl7pPr marL="29718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7pPr>
              <a:lvl8pPr marL="34290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8pPr>
              <a:lvl9pPr marL="38862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9pPr>
            </a:lstStyle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r>
                <a:rPr lang="es-ES" altLang="es-ES" sz="600">
                  <a:solidFill>
                    <a:srgbClr val="212B6C"/>
                  </a:solidFill>
                  <a:latin typeface="+mn-lt"/>
                </a:rPr>
                <a:t>2.1 Avanzar la gestión integral de los procesos</a:t>
              </a:r>
            </a:p>
          </p:txBody>
        </p:sp>
        <p:sp>
          <p:nvSpPr>
            <p:cNvPr id="47" name="Rectángulo 77"/>
            <p:cNvSpPr>
              <a:spLocks noChangeArrowheads="1"/>
            </p:cNvSpPr>
            <p:nvPr/>
          </p:nvSpPr>
          <p:spPr bwMode="auto">
            <a:xfrm>
              <a:off x="1948573" y="2426971"/>
              <a:ext cx="1069635" cy="46166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>
              <a:spAutoFit/>
            </a:bodyPr>
            <a:lstStyle>
              <a:lvl1pPr algn="r">
                <a:defRPr sz="2800"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1pPr>
              <a:lvl2pPr marL="742950" indent="-285750" algn="r">
                <a:defRPr sz="2800"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2pPr>
              <a:lvl3pPr marL="1143000" indent="-228600" algn="r">
                <a:defRPr sz="2800"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3pPr>
              <a:lvl4pPr marL="1600200" indent="-228600" algn="r">
                <a:defRPr sz="2800"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4pPr>
              <a:lvl5pPr marL="2057400" indent="-228600" algn="r">
                <a:defRPr sz="2800"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5pPr>
              <a:lvl6pPr marL="25146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6pPr>
              <a:lvl7pPr marL="29718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7pPr>
              <a:lvl8pPr marL="34290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8pPr>
              <a:lvl9pPr marL="38862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9pPr>
            </a:lstStyle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r>
                <a:rPr lang="es-ES" altLang="es-ES" sz="600">
                  <a:solidFill>
                    <a:srgbClr val="212B6C"/>
                  </a:solidFill>
                  <a:latin typeface="+mn-lt"/>
                </a:rPr>
                <a:t>2.2 Identificar  áreas de asistencia prioritarias y crear equipos multidisciplinares para su mejora</a:t>
              </a:r>
            </a:p>
          </p:txBody>
        </p:sp>
        <p:sp>
          <p:nvSpPr>
            <p:cNvPr id="48" name="Rectángulo 78"/>
            <p:cNvSpPr>
              <a:spLocks noChangeArrowheads="1"/>
            </p:cNvSpPr>
            <p:nvPr/>
          </p:nvSpPr>
          <p:spPr bwMode="auto">
            <a:xfrm>
              <a:off x="1948577" y="2942578"/>
              <a:ext cx="1062755" cy="2769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>
              <a:spAutoFit/>
            </a:bodyPr>
            <a:lstStyle>
              <a:lvl1pPr algn="r">
                <a:defRPr sz="2800"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1pPr>
              <a:lvl2pPr marL="742950" indent="-285750" algn="r">
                <a:defRPr sz="2800"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2pPr>
              <a:lvl3pPr marL="1143000" indent="-228600" algn="r">
                <a:defRPr sz="2800"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3pPr>
              <a:lvl4pPr marL="1600200" indent="-228600" algn="r">
                <a:defRPr sz="2800"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4pPr>
              <a:lvl5pPr marL="2057400" indent="-228600" algn="r">
                <a:defRPr sz="2800"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5pPr>
              <a:lvl6pPr marL="25146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6pPr>
              <a:lvl7pPr marL="29718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7pPr>
              <a:lvl8pPr marL="34290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8pPr>
              <a:lvl9pPr marL="38862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9pPr>
            </a:lstStyle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r>
                <a:rPr lang="es-ES" altLang="es-ES" sz="600">
                  <a:solidFill>
                    <a:srgbClr val="212B6C"/>
                  </a:solidFill>
                  <a:latin typeface="+mn-lt"/>
                </a:rPr>
                <a:t>2.3 Impulsar la continuidad de la asistencia</a:t>
              </a:r>
            </a:p>
          </p:txBody>
        </p:sp>
        <p:sp>
          <p:nvSpPr>
            <p:cNvPr id="49" name="Rectángulo 79"/>
            <p:cNvSpPr>
              <a:spLocks noChangeArrowheads="1"/>
            </p:cNvSpPr>
            <p:nvPr/>
          </p:nvSpPr>
          <p:spPr bwMode="auto">
            <a:xfrm>
              <a:off x="1948578" y="3207665"/>
              <a:ext cx="1042130" cy="3693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>
              <a:spAutoFit/>
            </a:bodyPr>
            <a:lstStyle>
              <a:lvl1pPr algn="r">
                <a:defRPr sz="2800"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1pPr>
              <a:lvl2pPr marL="742950" indent="-285750" algn="r">
                <a:defRPr sz="2800"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2pPr>
              <a:lvl3pPr marL="1143000" indent="-228600" algn="r">
                <a:defRPr sz="2800"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3pPr>
              <a:lvl4pPr marL="1600200" indent="-228600" algn="r">
                <a:defRPr sz="2800"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4pPr>
              <a:lvl5pPr marL="2057400" indent="-228600" algn="r">
                <a:defRPr sz="2800"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5pPr>
              <a:lvl6pPr marL="25146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6pPr>
              <a:lvl7pPr marL="29718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7pPr>
              <a:lvl8pPr marL="34290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8pPr>
              <a:lvl9pPr marL="38862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9pPr>
            </a:lstStyle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r>
                <a:rPr lang="es-ES" altLang="es-ES" sz="600">
                  <a:solidFill>
                    <a:srgbClr val="212B6C"/>
                  </a:solidFill>
                  <a:latin typeface="+mn-lt"/>
                </a:rPr>
                <a:t>2.4 Fomentar la atención al paciente en el recurso/nivel más adecuado</a:t>
              </a:r>
            </a:p>
          </p:txBody>
        </p:sp>
        <p:sp>
          <p:nvSpPr>
            <p:cNvPr id="50" name="Rectángulo 80"/>
            <p:cNvSpPr>
              <a:spLocks noChangeArrowheads="1"/>
            </p:cNvSpPr>
            <p:nvPr/>
          </p:nvSpPr>
          <p:spPr bwMode="auto">
            <a:xfrm>
              <a:off x="1948573" y="3551251"/>
              <a:ext cx="1187193" cy="2769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>
              <a:spAutoFit/>
            </a:bodyPr>
            <a:lstStyle>
              <a:lvl1pPr algn="r">
                <a:defRPr sz="2800"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1pPr>
              <a:lvl2pPr marL="742950" indent="-285750" algn="r">
                <a:defRPr sz="2800"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2pPr>
              <a:lvl3pPr marL="1143000" indent="-228600" algn="r">
                <a:defRPr sz="2800"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3pPr>
              <a:lvl4pPr marL="1600200" indent="-228600" algn="r">
                <a:defRPr sz="2800"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4pPr>
              <a:lvl5pPr marL="2057400" indent="-228600" algn="r">
                <a:defRPr sz="2800"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5pPr>
              <a:lvl6pPr marL="25146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6pPr>
              <a:lvl7pPr marL="29718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7pPr>
              <a:lvl8pPr marL="34290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8pPr>
              <a:lvl9pPr marL="38862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9pPr>
            </a:lstStyle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r>
                <a:rPr lang="es-ES" altLang="es-ES" sz="600">
                  <a:solidFill>
                    <a:srgbClr val="212B6C"/>
                  </a:solidFill>
                  <a:latin typeface="+mn-lt"/>
                </a:rPr>
                <a:t>2.5 Optimizar la atención a pacientes crónicos complejos</a:t>
              </a:r>
            </a:p>
          </p:txBody>
        </p:sp>
        <p:sp>
          <p:nvSpPr>
            <p:cNvPr id="51" name="Rectángulo 81"/>
            <p:cNvSpPr>
              <a:spLocks noChangeArrowheads="1"/>
            </p:cNvSpPr>
            <p:nvPr/>
          </p:nvSpPr>
          <p:spPr bwMode="auto">
            <a:xfrm>
              <a:off x="1948578" y="3893637"/>
              <a:ext cx="1014628" cy="2769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>
              <a:spAutoFit/>
            </a:bodyPr>
            <a:lstStyle>
              <a:lvl1pPr algn="r">
                <a:defRPr sz="2800"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1pPr>
              <a:lvl2pPr marL="742950" indent="-285750" algn="r">
                <a:defRPr sz="2800"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2pPr>
              <a:lvl3pPr marL="1143000" indent="-228600" algn="r">
                <a:defRPr sz="2800"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3pPr>
              <a:lvl4pPr marL="1600200" indent="-228600" algn="r">
                <a:defRPr sz="2800"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4pPr>
              <a:lvl5pPr marL="2057400" indent="-228600" algn="r">
                <a:defRPr sz="2800"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5pPr>
              <a:lvl6pPr marL="25146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6pPr>
              <a:lvl7pPr marL="29718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7pPr>
              <a:lvl8pPr marL="34290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8pPr>
              <a:lvl9pPr marL="38862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9pPr>
            </a:lstStyle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r>
                <a:rPr lang="es-ES" altLang="es-ES" sz="600">
                  <a:solidFill>
                    <a:srgbClr val="212B6C"/>
                  </a:solidFill>
                  <a:latin typeface="+mn-lt"/>
                </a:rPr>
                <a:t>2.6 Mejorar  el rendimiento y la eficiencia</a:t>
              </a:r>
            </a:p>
          </p:txBody>
        </p:sp>
        <p:sp>
          <p:nvSpPr>
            <p:cNvPr id="52" name="Rectángulo 82"/>
            <p:cNvSpPr>
              <a:spLocks noChangeArrowheads="1"/>
            </p:cNvSpPr>
            <p:nvPr/>
          </p:nvSpPr>
          <p:spPr bwMode="auto">
            <a:xfrm>
              <a:off x="1948578" y="4200151"/>
              <a:ext cx="1327232" cy="2769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>
              <a:spAutoFit/>
            </a:bodyPr>
            <a:lstStyle>
              <a:lvl1pPr algn="r">
                <a:defRPr sz="2800"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1pPr>
              <a:lvl2pPr marL="742950" indent="-285750" algn="r">
                <a:defRPr sz="2800"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2pPr>
              <a:lvl3pPr marL="1143000" indent="-228600" algn="r">
                <a:defRPr sz="2800"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3pPr>
              <a:lvl4pPr marL="1600200" indent="-228600" algn="r">
                <a:defRPr sz="2800"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4pPr>
              <a:lvl5pPr marL="2057400" indent="-228600" algn="r">
                <a:defRPr sz="2800"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5pPr>
              <a:lvl6pPr marL="25146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6pPr>
              <a:lvl7pPr marL="29718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7pPr>
              <a:lvl8pPr marL="34290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8pPr>
              <a:lvl9pPr marL="38862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9pPr>
            </a:lstStyle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r>
                <a:rPr lang="es-ES" altLang="es-ES" sz="600">
                  <a:solidFill>
                    <a:srgbClr val="212B6C"/>
                  </a:solidFill>
                  <a:latin typeface="+mn-lt"/>
                </a:rPr>
                <a:t>2.7 Impulsar la cultura de evaluación de resultados</a:t>
              </a:r>
            </a:p>
          </p:txBody>
        </p:sp>
        <p:sp>
          <p:nvSpPr>
            <p:cNvPr id="53" name="Rectángulo 110"/>
            <p:cNvSpPr>
              <a:spLocks noChangeArrowheads="1"/>
            </p:cNvSpPr>
            <p:nvPr/>
          </p:nvSpPr>
          <p:spPr bwMode="auto">
            <a:xfrm>
              <a:off x="1843971" y="4867953"/>
              <a:ext cx="1206500" cy="46166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algn="r">
                <a:defRPr sz="2800"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1pPr>
              <a:lvl2pPr marL="742950" indent="-285750" algn="r">
                <a:defRPr sz="2800"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2pPr>
              <a:lvl3pPr marL="1143000" indent="-228600" algn="r">
                <a:defRPr sz="2800"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3pPr>
              <a:lvl4pPr marL="1600200" indent="-228600" algn="r">
                <a:defRPr sz="2800"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4pPr>
              <a:lvl5pPr marL="2057400" indent="-228600" algn="r">
                <a:defRPr sz="2800"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5pPr>
              <a:lvl6pPr marL="25146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6pPr>
              <a:lvl7pPr marL="29718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7pPr>
              <a:lvl8pPr marL="34290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8pPr>
              <a:lvl9pPr marL="38862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9pPr>
            </a:lstStyle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r>
                <a:rPr lang="es-ES" altLang="es-ES" sz="600">
                  <a:solidFill>
                    <a:srgbClr val="212B6C"/>
                  </a:solidFill>
                  <a:latin typeface="+mn-lt"/>
                </a:rPr>
                <a:t>2.9 Consolidar alianzas con los profesionales de AP, aliados asistenciales y del sector </a:t>
              </a:r>
              <a:r>
                <a:rPr lang="es-ES" altLang="es-ES" sz="600" err="1">
                  <a:solidFill>
                    <a:srgbClr val="212B6C"/>
                  </a:solidFill>
                  <a:latin typeface="+mn-lt"/>
                </a:rPr>
                <a:t>sociosanitario</a:t>
              </a:r>
              <a:endParaRPr lang="es-ES" altLang="es-ES" sz="600">
                <a:solidFill>
                  <a:srgbClr val="212B6C"/>
                </a:solidFill>
                <a:latin typeface="+mn-lt"/>
              </a:endParaRPr>
            </a:p>
          </p:txBody>
        </p:sp>
        <p:sp>
          <p:nvSpPr>
            <p:cNvPr id="54" name="Rectángulo 111"/>
            <p:cNvSpPr>
              <a:spLocks noChangeArrowheads="1"/>
            </p:cNvSpPr>
            <p:nvPr/>
          </p:nvSpPr>
          <p:spPr bwMode="auto">
            <a:xfrm>
              <a:off x="1856301" y="5470240"/>
              <a:ext cx="1210033" cy="55399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 algn="r">
                <a:defRPr sz="2800"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1pPr>
              <a:lvl2pPr marL="742950" indent="-285750" algn="r">
                <a:defRPr sz="2800"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2pPr>
              <a:lvl3pPr marL="1143000" indent="-228600" algn="r">
                <a:defRPr sz="2800"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3pPr>
              <a:lvl4pPr marL="1600200" indent="-228600" algn="r">
                <a:defRPr sz="2800"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4pPr>
              <a:lvl5pPr marL="2057400" indent="-228600" algn="r">
                <a:defRPr sz="2800"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5pPr>
              <a:lvl6pPr marL="25146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6pPr>
              <a:lvl7pPr marL="29718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7pPr>
              <a:lvl8pPr marL="34290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8pPr>
              <a:lvl9pPr marL="38862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9pPr>
            </a:lstStyle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r>
                <a:rPr lang="es-ES" altLang="es-ES" sz="600">
                  <a:solidFill>
                    <a:srgbClr val="212B6C"/>
                  </a:solidFill>
                  <a:latin typeface="+mn-lt"/>
                </a:rPr>
                <a:t>2.10 Optimizar y garantizar la explotación de los sistemas de información para el seguimiento y monitorización de objetivos y resultados</a:t>
              </a:r>
            </a:p>
          </p:txBody>
        </p:sp>
        <p:sp>
          <p:nvSpPr>
            <p:cNvPr id="55" name="Rectángulo 82"/>
            <p:cNvSpPr>
              <a:spLocks noChangeArrowheads="1"/>
            </p:cNvSpPr>
            <p:nvPr/>
          </p:nvSpPr>
          <p:spPr bwMode="auto">
            <a:xfrm>
              <a:off x="1948578" y="4465362"/>
              <a:ext cx="1207134" cy="2769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>
              <a:spAutoFit/>
            </a:bodyPr>
            <a:lstStyle>
              <a:lvl1pPr algn="r">
                <a:defRPr sz="2800"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1pPr>
              <a:lvl2pPr marL="742950" indent="-285750" algn="r">
                <a:defRPr sz="2800"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2pPr>
              <a:lvl3pPr marL="1143000" indent="-228600" algn="r">
                <a:defRPr sz="2800"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3pPr>
              <a:lvl4pPr marL="1600200" indent="-228600" algn="r">
                <a:defRPr sz="2800"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4pPr>
              <a:lvl5pPr marL="2057400" indent="-228600" algn="r">
                <a:defRPr sz="2800"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5pPr>
              <a:lvl6pPr marL="25146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6pPr>
              <a:lvl7pPr marL="29718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7pPr>
              <a:lvl8pPr marL="34290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8pPr>
              <a:lvl9pPr marL="38862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9pPr>
            </a:lstStyle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r>
                <a:rPr lang="es-ES" altLang="es-ES" sz="600">
                  <a:solidFill>
                    <a:srgbClr val="212B6C"/>
                  </a:solidFill>
                  <a:latin typeface="+mn-lt"/>
                </a:rPr>
                <a:t>2.8 Rediseñar los modelos de gestión de servicios estratégicos</a:t>
              </a:r>
            </a:p>
          </p:txBody>
        </p:sp>
        <p:sp>
          <p:nvSpPr>
            <p:cNvPr id="56" name="Rectángulo 83"/>
            <p:cNvSpPr>
              <a:spLocks noChangeArrowheads="1"/>
            </p:cNvSpPr>
            <p:nvPr/>
          </p:nvSpPr>
          <p:spPr bwMode="auto">
            <a:xfrm>
              <a:off x="3138785" y="2134381"/>
              <a:ext cx="1027580" cy="83099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 algn="r">
                <a:defRPr sz="2800"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1pPr>
              <a:lvl2pPr marL="742950" indent="-285750" algn="r">
                <a:defRPr sz="2800"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2pPr>
              <a:lvl3pPr marL="1143000" indent="-228600" algn="r">
                <a:defRPr sz="2800"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3pPr>
              <a:lvl4pPr marL="1600200" indent="-228600" algn="r">
                <a:defRPr sz="2800"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4pPr>
              <a:lvl5pPr marL="2057400" indent="-228600" algn="r">
                <a:defRPr sz="2800"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5pPr>
              <a:lvl6pPr marL="25146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6pPr>
              <a:lvl7pPr marL="29718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7pPr>
              <a:lvl8pPr marL="34290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8pPr>
              <a:lvl9pPr marL="38862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9pPr>
            </a:lstStyle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r>
                <a:rPr lang="es-ES" altLang="es-ES" sz="600">
                  <a:solidFill>
                    <a:srgbClr val="212B6C"/>
                  </a:solidFill>
                  <a:latin typeface="+mn-lt"/>
                </a:rPr>
                <a:t>3.1 Reforzar la posición de referencia del Hospital, potenciando la alta complejidad y las unidades de referencia en las áreas estratégicas</a:t>
              </a:r>
            </a:p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endParaRPr lang="es-ES" altLang="es-ES" sz="600">
                <a:solidFill>
                  <a:srgbClr val="212B6C"/>
                </a:solidFill>
                <a:latin typeface="+mn-lt"/>
              </a:endParaRPr>
            </a:p>
          </p:txBody>
        </p:sp>
        <p:sp>
          <p:nvSpPr>
            <p:cNvPr id="57" name="Rectángulo 84"/>
            <p:cNvSpPr>
              <a:spLocks noChangeArrowheads="1"/>
            </p:cNvSpPr>
            <p:nvPr/>
          </p:nvSpPr>
          <p:spPr bwMode="auto">
            <a:xfrm>
              <a:off x="3152502" y="3066157"/>
              <a:ext cx="1048239" cy="55399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 algn="r">
                <a:defRPr sz="2800"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1pPr>
              <a:lvl2pPr marL="742950" indent="-285750" algn="r">
                <a:defRPr sz="2800"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2pPr>
              <a:lvl3pPr marL="1143000" indent="-228600" algn="r">
                <a:defRPr sz="2800"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3pPr>
              <a:lvl4pPr marL="1600200" indent="-228600" algn="r">
                <a:defRPr sz="2800"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4pPr>
              <a:lvl5pPr marL="2057400" indent="-228600" algn="r">
                <a:defRPr sz="2800"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5pPr>
              <a:lvl6pPr marL="25146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6pPr>
              <a:lvl7pPr marL="29718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7pPr>
              <a:lvl8pPr marL="34290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8pPr>
              <a:lvl9pPr marL="38862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9pPr>
            </a:lstStyle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r>
                <a:rPr lang="es-ES" altLang="es-ES" sz="600">
                  <a:solidFill>
                    <a:srgbClr val="212B6C"/>
                  </a:solidFill>
                  <a:latin typeface="+mn-lt"/>
                </a:rPr>
                <a:t>3.2 Adecuar el equipamiento y la dotación tecnológica a la complejidad del Hospital</a:t>
              </a:r>
            </a:p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endParaRPr lang="es-ES" altLang="es-ES" sz="600">
                <a:solidFill>
                  <a:srgbClr val="212B6C"/>
                </a:solidFill>
                <a:latin typeface="+mn-lt"/>
              </a:endParaRPr>
            </a:p>
          </p:txBody>
        </p:sp>
        <p:sp>
          <p:nvSpPr>
            <p:cNvPr id="58" name="Rectángulo 85"/>
            <p:cNvSpPr>
              <a:spLocks noChangeArrowheads="1"/>
            </p:cNvSpPr>
            <p:nvPr/>
          </p:nvSpPr>
          <p:spPr bwMode="auto">
            <a:xfrm>
              <a:off x="4437277" y="2134272"/>
              <a:ext cx="1145375" cy="46166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>
              <a:spAutoFit/>
            </a:bodyPr>
            <a:lstStyle>
              <a:lvl1pPr algn="r">
                <a:defRPr sz="2800"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1pPr>
              <a:lvl2pPr marL="742950" indent="-285750" algn="r">
                <a:defRPr sz="2800"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2pPr>
              <a:lvl3pPr marL="1143000" indent="-228600" algn="r">
                <a:defRPr sz="2800"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3pPr>
              <a:lvl4pPr marL="1600200" indent="-228600" algn="r">
                <a:defRPr sz="2800"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4pPr>
              <a:lvl5pPr marL="2057400" indent="-228600" algn="r">
                <a:defRPr sz="2800"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5pPr>
              <a:lvl6pPr marL="25146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6pPr>
              <a:lvl7pPr marL="29718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7pPr>
              <a:lvl8pPr marL="34290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8pPr>
              <a:lvl9pPr marL="38862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9pPr>
            </a:lstStyle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r>
                <a:rPr lang="es-ES" altLang="es-ES" sz="600">
                  <a:solidFill>
                    <a:srgbClr val="212B6C"/>
                  </a:solidFill>
                  <a:latin typeface="+mn-lt"/>
                </a:rPr>
                <a:t>4.1 Facilitar el acceso a una formación continuada alineada con las prioridades estratégicas del Hospital.</a:t>
              </a:r>
            </a:p>
          </p:txBody>
        </p:sp>
        <p:sp>
          <p:nvSpPr>
            <p:cNvPr id="59" name="Rectángulo 86"/>
            <p:cNvSpPr>
              <a:spLocks noChangeArrowheads="1"/>
            </p:cNvSpPr>
            <p:nvPr/>
          </p:nvSpPr>
          <p:spPr bwMode="auto">
            <a:xfrm>
              <a:off x="4437278" y="2591923"/>
              <a:ext cx="1138499" cy="46166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>
              <a:spAutoFit/>
            </a:bodyPr>
            <a:lstStyle>
              <a:lvl1pPr algn="r">
                <a:defRPr sz="2800"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1pPr>
              <a:lvl2pPr marL="742950" indent="-285750" algn="r">
                <a:defRPr sz="2800"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2pPr>
              <a:lvl3pPr marL="1143000" indent="-228600" algn="r">
                <a:defRPr sz="2800"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3pPr>
              <a:lvl4pPr marL="1600200" indent="-228600" algn="r">
                <a:defRPr sz="2800"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4pPr>
              <a:lvl5pPr marL="2057400" indent="-228600" algn="r">
                <a:defRPr sz="2800"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5pPr>
              <a:lvl6pPr marL="25146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6pPr>
              <a:lvl7pPr marL="29718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7pPr>
              <a:lvl8pPr marL="34290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8pPr>
              <a:lvl9pPr marL="38862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9pPr>
            </a:lstStyle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r>
                <a:rPr lang="es-ES" altLang="es-ES" sz="600">
                  <a:solidFill>
                    <a:srgbClr val="212B6C"/>
                  </a:solidFill>
                  <a:latin typeface="+mn-lt"/>
                </a:rPr>
                <a:t>4.2 Implantar políticas de recursos humanos que favorezcan el reconocimiento diferenciador al esfuerzo</a:t>
              </a:r>
            </a:p>
          </p:txBody>
        </p:sp>
        <p:sp>
          <p:nvSpPr>
            <p:cNvPr id="60" name="Rectángulo 87"/>
            <p:cNvSpPr>
              <a:spLocks noChangeArrowheads="1"/>
            </p:cNvSpPr>
            <p:nvPr/>
          </p:nvSpPr>
          <p:spPr bwMode="auto">
            <a:xfrm>
              <a:off x="4437278" y="3051039"/>
              <a:ext cx="1200375" cy="46166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>
              <a:spAutoFit/>
            </a:bodyPr>
            <a:lstStyle>
              <a:lvl1pPr algn="r">
                <a:defRPr sz="2800"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1pPr>
              <a:lvl2pPr marL="742950" indent="-285750" algn="r">
                <a:defRPr sz="2800"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2pPr>
              <a:lvl3pPr marL="1143000" indent="-228600" algn="r">
                <a:defRPr sz="2800"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3pPr>
              <a:lvl4pPr marL="1600200" indent="-228600" algn="r">
                <a:defRPr sz="2800"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4pPr>
              <a:lvl5pPr marL="2057400" indent="-228600" algn="r">
                <a:defRPr sz="2800"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5pPr>
              <a:lvl6pPr marL="25146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6pPr>
              <a:lvl7pPr marL="29718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7pPr>
              <a:lvl8pPr marL="34290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8pPr>
              <a:lvl9pPr marL="38862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9pPr>
            </a:lstStyle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r>
                <a:rPr lang="es-ES" altLang="es-ES" sz="600">
                  <a:solidFill>
                    <a:srgbClr val="212B6C"/>
                  </a:solidFill>
                  <a:latin typeface="+mn-lt"/>
                </a:rPr>
                <a:t>4.3 Desarrollar estrategias para fomentar el compromiso de los profesionales con el proceso de transformación del Hospital</a:t>
              </a:r>
            </a:p>
          </p:txBody>
        </p:sp>
        <p:sp>
          <p:nvSpPr>
            <p:cNvPr id="61" name="Rectángulo 88"/>
            <p:cNvSpPr>
              <a:spLocks noChangeArrowheads="1"/>
            </p:cNvSpPr>
            <p:nvPr/>
          </p:nvSpPr>
          <p:spPr bwMode="auto">
            <a:xfrm>
              <a:off x="4451029" y="3534849"/>
              <a:ext cx="1223962" cy="46166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>
              <a:spAutoFit/>
            </a:bodyPr>
            <a:lstStyle>
              <a:lvl1pPr algn="r">
                <a:defRPr sz="2800"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1pPr>
              <a:lvl2pPr marL="742950" indent="-285750" algn="r">
                <a:defRPr sz="2800"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2pPr>
              <a:lvl3pPr marL="1143000" indent="-228600" algn="r">
                <a:defRPr sz="2800"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3pPr>
              <a:lvl4pPr marL="1600200" indent="-228600" algn="r">
                <a:defRPr sz="2800"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4pPr>
              <a:lvl5pPr marL="2057400" indent="-228600" algn="r">
                <a:defRPr sz="2800"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5pPr>
              <a:lvl6pPr marL="25146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6pPr>
              <a:lvl7pPr marL="29718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7pPr>
              <a:lvl8pPr marL="34290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8pPr>
              <a:lvl9pPr marL="38862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9pPr>
            </a:lstStyle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r>
                <a:rPr lang="es-ES" altLang="es-ES" sz="600">
                  <a:solidFill>
                    <a:srgbClr val="212B6C"/>
                  </a:solidFill>
                  <a:latin typeface="+mn-lt"/>
                </a:rPr>
                <a:t>4.4 Avanzar hacia un modelo organizativo que promueva la autonomía y la descentralización de la toma de decisiones</a:t>
              </a:r>
            </a:p>
          </p:txBody>
        </p:sp>
        <p:sp>
          <p:nvSpPr>
            <p:cNvPr id="62" name="Rectángulo 89"/>
            <p:cNvSpPr>
              <a:spLocks noChangeArrowheads="1"/>
            </p:cNvSpPr>
            <p:nvPr/>
          </p:nvSpPr>
          <p:spPr bwMode="auto">
            <a:xfrm>
              <a:off x="4451109" y="4004906"/>
              <a:ext cx="1186546" cy="46166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>
              <a:spAutoFit/>
            </a:bodyPr>
            <a:lstStyle>
              <a:lvl1pPr algn="r">
                <a:defRPr sz="2800"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1pPr>
              <a:lvl2pPr marL="742950" indent="-285750" algn="r">
                <a:defRPr sz="2800"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2pPr>
              <a:lvl3pPr marL="1143000" indent="-228600" algn="r">
                <a:defRPr sz="2800"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3pPr>
              <a:lvl4pPr marL="1600200" indent="-228600" algn="r">
                <a:defRPr sz="2800"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4pPr>
              <a:lvl5pPr marL="2057400" indent="-228600" algn="r">
                <a:defRPr sz="2800"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5pPr>
              <a:lvl6pPr marL="25146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6pPr>
              <a:lvl7pPr marL="29718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7pPr>
              <a:lvl8pPr marL="34290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8pPr>
              <a:lvl9pPr marL="38862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9pPr>
            </a:lstStyle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r>
                <a:rPr lang="es-ES" altLang="es-ES" sz="600">
                  <a:solidFill>
                    <a:srgbClr val="212B6C"/>
                  </a:solidFill>
                  <a:latin typeface="+mn-lt"/>
                </a:rPr>
                <a:t>4.5 Asegurar el relevo de los líderes profesionales, a través del desarrollo, la retención y la captación de talento</a:t>
              </a:r>
            </a:p>
          </p:txBody>
        </p:sp>
        <p:sp>
          <p:nvSpPr>
            <p:cNvPr id="63" name="Rectángulo 90"/>
            <p:cNvSpPr>
              <a:spLocks noChangeArrowheads="1"/>
            </p:cNvSpPr>
            <p:nvPr/>
          </p:nvSpPr>
          <p:spPr bwMode="auto">
            <a:xfrm>
              <a:off x="4451028" y="4469581"/>
              <a:ext cx="1124749" cy="2769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>
              <a:spAutoFit/>
            </a:bodyPr>
            <a:lstStyle>
              <a:lvl1pPr algn="r">
                <a:defRPr sz="2800"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1pPr>
              <a:lvl2pPr marL="742950" indent="-285750" algn="r">
                <a:defRPr sz="2800"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2pPr>
              <a:lvl3pPr marL="1143000" indent="-228600" algn="r">
                <a:defRPr sz="2800"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3pPr>
              <a:lvl4pPr marL="1600200" indent="-228600" algn="r">
                <a:defRPr sz="2800"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4pPr>
              <a:lvl5pPr marL="2057400" indent="-228600" algn="r">
                <a:defRPr sz="2800"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5pPr>
              <a:lvl6pPr marL="25146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6pPr>
              <a:lvl7pPr marL="29718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7pPr>
              <a:lvl8pPr marL="34290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8pPr>
              <a:lvl9pPr marL="38862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9pPr>
            </a:lstStyle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r>
                <a:rPr lang="es-ES" altLang="es-ES" sz="600">
                  <a:solidFill>
                    <a:srgbClr val="212B6C"/>
                  </a:solidFill>
                  <a:latin typeface="+mn-lt"/>
                </a:rPr>
                <a:t>4.6 Avanzar en los planes de seguridad laboral</a:t>
              </a:r>
            </a:p>
          </p:txBody>
        </p:sp>
        <p:sp>
          <p:nvSpPr>
            <p:cNvPr id="64" name="Rectángulo 97"/>
            <p:cNvSpPr>
              <a:spLocks noChangeArrowheads="1"/>
            </p:cNvSpPr>
            <p:nvPr/>
          </p:nvSpPr>
          <p:spPr bwMode="auto">
            <a:xfrm>
              <a:off x="5668195" y="2127507"/>
              <a:ext cx="1048863" cy="55399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 algn="r">
                <a:defRPr sz="2800"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1pPr>
              <a:lvl2pPr marL="742950" indent="-285750" algn="r">
                <a:defRPr sz="2800"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2pPr>
              <a:lvl3pPr marL="1143000" indent="-228600" algn="r">
                <a:defRPr sz="2800"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3pPr>
              <a:lvl4pPr marL="1600200" indent="-228600" algn="r">
                <a:defRPr sz="2800"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4pPr>
              <a:lvl5pPr marL="2057400" indent="-228600" algn="r">
                <a:defRPr sz="2800"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5pPr>
              <a:lvl6pPr marL="25146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6pPr>
              <a:lvl7pPr marL="29718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7pPr>
              <a:lvl8pPr marL="34290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8pPr>
              <a:lvl9pPr marL="38862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9pPr>
            </a:lstStyle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r>
                <a:rPr lang="es-ES" altLang="es-ES" sz="600">
                  <a:solidFill>
                    <a:srgbClr val="212B6C"/>
                  </a:solidFill>
                  <a:latin typeface="+mn-lt"/>
                </a:rPr>
                <a:t>5.1 Reconocer el esfuerzo investigador e innovador de los profesionales</a:t>
              </a:r>
            </a:p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endParaRPr lang="es-ES" altLang="es-ES" sz="600">
                <a:solidFill>
                  <a:srgbClr val="212B6C"/>
                </a:solidFill>
                <a:latin typeface="+mn-lt"/>
              </a:endParaRPr>
            </a:p>
          </p:txBody>
        </p:sp>
        <p:sp>
          <p:nvSpPr>
            <p:cNvPr id="65" name="Rectángulo 98"/>
            <p:cNvSpPr>
              <a:spLocks noChangeArrowheads="1"/>
            </p:cNvSpPr>
            <p:nvPr/>
          </p:nvSpPr>
          <p:spPr bwMode="auto">
            <a:xfrm>
              <a:off x="5668114" y="3062819"/>
              <a:ext cx="1062694" cy="73866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 algn="r">
                <a:defRPr sz="2800"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1pPr>
              <a:lvl2pPr marL="742950" indent="-285750" algn="r">
                <a:defRPr sz="2800"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2pPr>
              <a:lvl3pPr marL="1143000" indent="-228600" algn="r">
                <a:defRPr sz="2800"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3pPr>
              <a:lvl4pPr marL="1600200" indent="-228600" algn="r">
                <a:defRPr sz="2800"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4pPr>
              <a:lvl5pPr marL="2057400" indent="-228600" algn="r">
                <a:defRPr sz="2800"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5pPr>
              <a:lvl6pPr marL="25146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6pPr>
              <a:lvl7pPr marL="29718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7pPr>
              <a:lvl8pPr marL="34290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8pPr>
              <a:lvl9pPr marL="38862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9pPr>
            </a:lstStyle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r>
                <a:rPr lang="es-ES" altLang="es-ES" sz="600">
                  <a:solidFill>
                    <a:srgbClr val="212B6C"/>
                  </a:solidFill>
                  <a:latin typeface="+mn-lt"/>
                </a:rPr>
                <a:t>5.2 Impulsar una cultura innovadora “para todos”, reforzando los procedimientos y las herramientas de soporte a la innovación</a:t>
              </a:r>
            </a:p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endParaRPr lang="es-ES" altLang="es-ES" sz="600">
                <a:solidFill>
                  <a:srgbClr val="212B6C"/>
                </a:solidFill>
                <a:latin typeface="+mn-lt"/>
              </a:endParaRPr>
            </a:p>
          </p:txBody>
        </p:sp>
        <p:sp>
          <p:nvSpPr>
            <p:cNvPr id="66" name="Rectángulo 65"/>
            <p:cNvSpPr/>
            <p:nvPr/>
          </p:nvSpPr>
          <p:spPr>
            <a:xfrm>
              <a:off x="5633739" y="4896752"/>
              <a:ext cx="1206500" cy="461665"/>
            </a:xfrm>
            <a:prstGeom prst="rect">
              <a:avLst/>
            </a:prstGeom>
          </p:spPr>
          <p:txBody>
            <a:bodyPr>
              <a:spAutoFit/>
            </a:bodyPr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s-ES" altLang="es-ES" sz="600">
                  <a:solidFill>
                    <a:srgbClr val="212B6C"/>
                  </a:solidFill>
                  <a:ea typeface="+mn-ea"/>
                </a:rPr>
                <a:t>5.3 Mejorar las colaboraciones externas para el desarrollo de proyectos científicos y de innovación</a:t>
              </a:r>
            </a:p>
          </p:txBody>
        </p:sp>
        <p:sp>
          <p:nvSpPr>
            <p:cNvPr id="67" name="Rectángulo 100"/>
            <p:cNvSpPr>
              <a:spLocks noChangeArrowheads="1"/>
            </p:cNvSpPr>
            <p:nvPr/>
          </p:nvSpPr>
          <p:spPr bwMode="auto">
            <a:xfrm>
              <a:off x="6983171" y="2120631"/>
              <a:ext cx="1005798" cy="56069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>
              <a:spAutoFit/>
            </a:bodyPr>
            <a:lstStyle>
              <a:lvl1pPr algn="r">
                <a:defRPr sz="2800"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1pPr>
              <a:lvl2pPr marL="742950" indent="-285750" algn="r">
                <a:defRPr sz="2800"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2pPr>
              <a:lvl3pPr marL="1143000" indent="-228600" algn="r">
                <a:defRPr sz="2800"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3pPr>
              <a:lvl4pPr marL="1600200" indent="-228600" algn="r">
                <a:defRPr sz="2800"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4pPr>
              <a:lvl5pPr marL="2057400" indent="-228600" algn="r">
                <a:defRPr sz="2800"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5pPr>
              <a:lvl6pPr marL="25146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6pPr>
              <a:lvl7pPr marL="29718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7pPr>
              <a:lvl8pPr marL="34290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8pPr>
              <a:lvl9pPr marL="38862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9pPr>
            </a:lstStyle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r>
                <a:rPr lang="es-ES" altLang="es-ES" sz="600">
                  <a:solidFill>
                    <a:srgbClr val="212B6C"/>
                  </a:solidFill>
                  <a:latin typeface="+mn-lt"/>
                </a:rPr>
                <a:t>6.1 Fomentar el compromiso y la  participación en la docencia de todos los profesionales del Hospital</a:t>
              </a:r>
            </a:p>
          </p:txBody>
        </p:sp>
        <p:sp>
          <p:nvSpPr>
            <p:cNvPr id="68" name="Rectángulo 101"/>
            <p:cNvSpPr>
              <a:spLocks noChangeArrowheads="1"/>
            </p:cNvSpPr>
            <p:nvPr/>
          </p:nvSpPr>
          <p:spPr bwMode="auto">
            <a:xfrm>
              <a:off x="6978853" y="2748709"/>
              <a:ext cx="955114" cy="64633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>
              <a:spAutoFit/>
            </a:bodyPr>
            <a:lstStyle>
              <a:lvl1pPr algn="r">
                <a:defRPr sz="2800"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1pPr>
              <a:lvl2pPr marL="742950" indent="-285750" algn="r">
                <a:defRPr sz="2800"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2pPr>
              <a:lvl3pPr marL="1143000" indent="-228600" algn="r">
                <a:defRPr sz="2800"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3pPr>
              <a:lvl4pPr marL="1600200" indent="-228600" algn="r">
                <a:defRPr sz="2800"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4pPr>
              <a:lvl5pPr marL="2057400" indent="-228600" algn="r">
                <a:defRPr sz="2800"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5pPr>
              <a:lvl6pPr marL="25146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6pPr>
              <a:lvl7pPr marL="29718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7pPr>
              <a:lvl8pPr marL="34290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8pPr>
              <a:lvl9pPr marL="38862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9pPr>
            </a:lstStyle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r>
                <a:rPr lang="es-ES" altLang="es-ES" sz="600">
                  <a:solidFill>
                    <a:srgbClr val="212B6C"/>
                  </a:solidFill>
                  <a:latin typeface="+mn-lt"/>
                </a:rPr>
                <a:t>6.2 Mejorar la estandarización y evaluación de la docencia a través de un modelo basado en competencias</a:t>
              </a:r>
            </a:p>
          </p:txBody>
        </p:sp>
        <p:sp>
          <p:nvSpPr>
            <p:cNvPr id="69" name="Rectángulo 102"/>
            <p:cNvSpPr>
              <a:spLocks noChangeArrowheads="1"/>
            </p:cNvSpPr>
            <p:nvPr/>
          </p:nvSpPr>
          <p:spPr bwMode="auto">
            <a:xfrm>
              <a:off x="6985728" y="3474406"/>
              <a:ext cx="989490" cy="3693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>
              <a:spAutoFit/>
            </a:bodyPr>
            <a:lstStyle>
              <a:lvl1pPr algn="r">
                <a:defRPr sz="2800"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1pPr>
              <a:lvl2pPr marL="742950" indent="-285750" algn="r">
                <a:defRPr sz="2800"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2pPr>
              <a:lvl3pPr marL="1143000" indent="-228600" algn="r">
                <a:defRPr sz="2800"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3pPr>
              <a:lvl4pPr marL="1600200" indent="-228600" algn="r">
                <a:defRPr sz="2800"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4pPr>
              <a:lvl5pPr marL="2057400" indent="-228600" algn="r">
                <a:defRPr sz="2800"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5pPr>
              <a:lvl6pPr marL="25146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6pPr>
              <a:lvl7pPr marL="29718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7pPr>
              <a:lvl8pPr marL="34290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8pPr>
              <a:lvl9pPr marL="38862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9pPr>
            </a:lstStyle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r>
                <a:rPr lang="es-ES" altLang="es-ES" sz="600">
                  <a:solidFill>
                    <a:srgbClr val="212B6C"/>
                  </a:solidFill>
                  <a:latin typeface="+mn-lt"/>
                </a:rPr>
                <a:t>6.3 Avanzar en la estructura de soporte a la docencia en el Hospital</a:t>
              </a:r>
            </a:p>
          </p:txBody>
        </p:sp>
        <p:sp>
          <p:nvSpPr>
            <p:cNvPr id="70" name="Rectángulo 103"/>
            <p:cNvSpPr>
              <a:spLocks noChangeArrowheads="1"/>
            </p:cNvSpPr>
            <p:nvPr/>
          </p:nvSpPr>
          <p:spPr bwMode="auto">
            <a:xfrm>
              <a:off x="6978853" y="3974773"/>
              <a:ext cx="948238" cy="64633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>
              <a:spAutoFit/>
            </a:bodyPr>
            <a:lstStyle>
              <a:lvl1pPr algn="r">
                <a:defRPr sz="2800"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1pPr>
              <a:lvl2pPr marL="742950" indent="-285750" algn="r">
                <a:defRPr sz="2800"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2pPr>
              <a:lvl3pPr marL="1143000" indent="-228600" algn="r">
                <a:defRPr sz="2800"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3pPr>
              <a:lvl4pPr marL="1600200" indent="-228600" algn="r">
                <a:defRPr sz="2800"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4pPr>
              <a:lvl5pPr marL="2057400" indent="-228600" algn="r">
                <a:defRPr sz="2800"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5pPr>
              <a:lvl6pPr marL="25146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6pPr>
              <a:lvl7pPr marL="29718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7pPr>
              <a:lvl8pPr marL="34290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8pPr>
              <a:lvl9pPr marL="38862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9pPr>
            </a:lstStyle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r>
                <a:rPr lang="es-ES" altLang="es-ES" sz="600">
                  <a:solidFill>
                    <a:srgbClr val="212B6C"/>
                  </a:solidFill>
                  <a:latin typeface="+mn-lt"/>
                </a:rPr>
                <a:t>6.4 Potenciar la aplicación de técnicas pedagógicas contrastadas y fórmulas innovadoras en la docencia</a:t>
              </a:r>
            </a:p>
          </p:txBody>
        </p:sp>
        <p:sp>
          <p:nvSpPr>
            <p:cNvPr id="71" name="Rectángulo 105"/>
            <p:cNvSpPr>
              <a:spLocks noChangeArrowheads="1"/>
            </p:cNvSpPr>
            <p:nvPr/>
          </p:nvSpPr>
          <p:spPr bwMode="auto">
            <a:xfrm>
              <a:off x="8214020" y="2113756"/>
              <a:ext cx="971231" cy="3693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>
              <a:spAutoFit/>
            </a:bodyPr>
            <a:lstStyle>
              <a:lvl1pPr algn="r">
                <a:defRPr sz="2800"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1pPr>
              <a:lvl2pPr marL="742950" indent="-285750" algn="r">
                <a:defRPr sz="2800"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2pPr>
              <a:lvl3pPr marL="1143000" indent="-228600" algn="r">
                <a:defRPr sz="2800"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3pPr>
              <a:lvl4pPr marL="1600200" indent="-228600" algn="r">
                <a:defRPr sz="2800"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4pPr>
              <a:lvl5pPr marL="2057400" indent="-228600" algn="r">
                <a:defRPr sz="2800"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5pPr>
              <a:lvl6pPr marL="25146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6pPr>
              <a:lvl7pPr marL="29718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7pPr>
              <a:lvl8pPr marL="34290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8pPr>
              <a:lvl9pPr marL="38862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9pPr>
            </a:lstStyle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r>
                <a:rPr lang="es-ES" altLang="es-ES" sz="600">
                  <a:solidFill>
                    <a:srgbClr val="212B6C"/>
                  </a:solidFill>
                  <a:latin typeface="+mn-lt"/>
                </a:rPr>
                <a:t>7.1 Aumentar la visibilidad del Hospital asociada a la excelencia</a:t>
              </a:r>
            </a:p>
          </p:txBody>
        </p:sp>
        <p:sp>
          <p:nvSpPr>
            <p:cNvPr id="72" name="Rectángulo 107"/>
            <p:cNvSpPr>
              <a:spLocks noChangeArrowheads="1"/>
            </p:cNvSpPr>
            <p:nvPr/>
          </p:nvSpPr>
          <p:spPr bwMode="auto">
            <a:xfrm>
              <a:off x="8213943" y="2584729"/>
              <a:ext cx="868182" cy="3693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>
              <a:spAutoFit/>
            </a:bodyPr>
            <a:lstStyle>
              <a:lvl1pPr algn="r">
                <a:defRPr sz="2800"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1pPr>
              <a:lvl2pPr marL="742950" indent="-285750" algn="r">
                <a:defRPr sz="2800"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2pPr>
              <a:lvl3pPr marL="1143000" indent="-228600" algn="r">
                <a:defRPr sz="2800"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3pPr>
              <a:lvl4pPr marL="1600200" indent="-228600" algn="r">
                <a:defRPr sz="2800"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4pPr>
              <a:lvl5pPr marL="2057400" indent="-228600" algn="r">
                <a:defRPr sz="2800"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5pPr>
              <a:lvl6pPr marL="25146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6pPr>
              <a:lvl7pPr marL="29718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7pPr>
              <a:lvl8pPr marL="34290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8pPr>
              <a:lvl9pPr marL="38862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9pPr>
            </a:lstStyle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r>
                <a:rPr lang="es-ES" altLang="es-ES" sz="600">
                  <a:solidFill>
                    <a:srgbClr val="212B6C"/>
                  </a:solidFill>
                  <a:latin typeface="+mn-lt"/>
                </a:rPr>
                <a:t>7.3 Mejorar el impacto del Hospital en el medio ambiente</a:t>
              </a:r>
            </a:p>
          </p:txBody>
        </p:sp>
        <p:sp>
          <p:nvSpPr>
            <p:cNvPr id="73" name="Rectángulo 72"/>
            <p:cNvSpPr/>
            <p:nvPr/>
          </p:nvSpPr>
          <p:spPr>
            <a:xfrm>
              <a:off x="6906364" y="4896752"/>
              <a:ext cx="1027602" cy="46166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s-ES" altLang="es-ES" sz="600">
                  <a:solidFill>
                    <a:srgbClr val="212B6C"/>
                  </a:solidFill>
                  <a:ea typeface="+mn-ea"/>
                </a:rPr>
                <a:t>6.5 Generar y consolidar alianzas con grupos docentes nacionales e internacionales</a:t>
              </a:r>
            </a:p>
          </p:txBody>
        </p:sp>
        <p:sp>
          <p:nvSpPr>
            <p:cNvPr id="74" name="Rectángulo 109"/>
            <p:cNvSpPr>
              <a:spLocks noChangeArrowheads="1"/>
            </p:cNvSpPr>
            <p:nvPr/>
          </p:nvSpPr>
          <p:spPr bwMode="auto">
            <a:xfrm>
              <a:off x="6920664" y="5585456"/>
              <a:ext cx="1006427" cy="3693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 algn="r">
                <a:defRPr sz="2800"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1pPr>
              <a:lvl2pPr marL="742950" indent="-285750" algn="r">
                <a:defRPr sz="2800"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2pPr>
              <a:lvl3pPr marL="1143000" indent="-228600" algn="r">
                <a:defRPr sz="2800"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3pPr>
              <a:lvl4pPr marL="1600200" indent="-228600" algn="r">
                <a:defRPr sz="2800"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4pPr>
              <a:lvl5pPr marL="2057400" indent="-228600" algn="r">
                <a:defRPr sz="2800"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5pPr>
              <a:lvl6pPr marL="25146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6pPr>
              <a:lvl7pPr marL="29718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7pPr>
              <a:lvl8pPr marL="34290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8pPr>
              <a:lvl9pPr marL="38862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9pPr>
            </a:lstStyle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r>
                <a:rPr lang="es-ES" altLang="es-ES" sz="600">
                  <a:solidFill>
                    <a:srgbClr val="212B6C"/>
                  </a:solidFill>
                  <a:latin typeface="+mn-lt"/>
                </a:rPr>
                <a:t>6.6 Potenciar la aplicación de TIC a la docencia sanitaria</a:t>
              </a:r>
            </a:p>
          </p:txBody>
        </p:sp>
        <p:sp>
          <p:nvSpPr>
            <p:cNvPr id="75" name="Rectángulo 112"/>
            <p:cNvSpPr>
              <a:spLocks noChangeArrowheads="1"/>
            </p:cNvSpPr>
            <p:nvPr/>
          </p:nvSpPr>
          <p:spPr bwMode="auto">
            <a:xfrm>
              <a:off x="3157239" y="5578508"/>
              <a:ext cx="1206500" cy="3693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>
              <a:spAutoFit/>
            </a:bodyPr>
            <a:lstStyle>
              <a:lvl1pPr algn="r">
                <a:defRPr sz="2800"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1pPr>
              <a:lvl2pPr marL="742950" indent="-285750" algn="r">
                <a:defRPr sz="2800"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2pPr>
              <a:lvl3pPr marL="1143000" indent="-228600" algn="r">
                <a:defRPr sz="2800"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3pPr>
              <a:lvl4pPr marL="1600200" indent="-228600" algn="r">
                <a:defRPr sz="2800"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4pPr>
              <a:lvl5pPr marL="2057400" indent="-228600" algn="r">
                <a:defRPr sz="2800"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5pPr>
              <a:lvl6pPr marL="25146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6pPr>
              <a:lvl7pPr marL="29718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7pPr>
              <a:lvl8pPr marL="34290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8pPr>
              <a:lvl9pPr marL="38862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9pPr>
            </a:lstStyle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r>
                <a:rPr lang="es-ES" altLang="es-ES" sz="600">
                  <a:solidFill>
                    <a:srgbClr val="212B6C"/>
                  </a:solidFill>
                  <a:latin typeface="+mn-lt"/>
                </a:rPr>
                <a:t>3.4 Integrar las TIC en el desarrollo de las áreas de referencia</a:t>
              </a:r>
            </a:p>
          </p:txBody>
        </p:sp>
        <p:sp>
          <p:nvSpPr>
            <p:cNvPr id="76" name="Rectángulo 113"/>
            <p:cNvSpPr>
              <a:spLocks noChangeArrowheads="1"/>
            </p:cNvSpPr>
            <p:nvPr/>
          </p:nvSpPr>
          <p:spPr bwMode="auto">
            <a:xfrm>
              <a:off x="3157239" y="4924252"/>
              <a:ext cx="1206500" cy="3693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>
              <a:spAutoFit/>
            </a:bodyPr>
            <a:lstStyle>
              <a:lvl1pPr algn="r">
                <a:defRPr sz="2800"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1pPr>
              <a:lvl2pPr marL="742950" indent="-285750" algn="r">
                <a:defRPr sz="2800"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2pPr>
              <a:lvl3pPr marL="1143000" indent="-228600" algn="r">
                <a:defRPr sz="2800"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3pPr>
              <a:lvl4pPr marL="1600200" indent="-228600" algn="r">
                <a:defRPr sz="2800"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4pPr>
              <a:lvl5pPr marL="2057400" indent="-228600" algn="r">
                <a:defRPr sz="2800"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5pPr>
              <a:lvl6pPr marL="25146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6pPr>
              <a:lvl7pPr marL="29718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7pPr>
              <a:lvl8pPr marL="34290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8pPr>
              <a:lvl9pPr marL="38862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9pPr>
            </a:lstStyle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r>
                <a:rPr lang="es-ES" altLang="es-ES" sz="600">
                  <a:solidFill>
                    <a:srgbClr val="212B6C"/>
                  </a:solidFill>
                  <a:latin typeface="+mn-lt"/>
                </a:rPr>
                <a:t>3.3 Generar y consolidar alianzas para el desarrollo de las áreas de referencia</a:t>
              </a:r>
            </a:p>
          </p:txBody>
        </p:sp>
        <p:sp>
          <p:nvSpPr>
            <p:cNvPr id="77" name="Rectángulo 114"/>
            <p:cNvSpPr>
              <a:spLocks noChangeArrowheads="1"/>
            </p:cNvSpPr>
            <p:nvPr/>
          </p:nvSpPr>
          <p:spPr bwMode="auto">
            <a:xfrm>
              <a:off x="4443102" y="5578508"/>
              <a:ext cx="1043297" cy="3693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>
              <a:spAutoFit/>
            </a:bodyPr>
            <a:lstStyle>
              <a:lvl1pPr algn="r">
                <a:defRPr sz="2800"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1pPr>
              <a:lvl2pPr marL="742950" indent="-285750" algn="r">
                <a:defRPr sz="2800"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2pPr>
              <a:lvl3pPr marL="1143000" indent="-228600" algn="r">
                <a:defRPr sz="2800"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3pPr>
              <a:lvl4pPr marL="1600200" indent="-228600" algn="r">
                <a:defRPr sz="2800"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4pPr>
              <a:lvl5pPr marL="2057400" indent="-228600" algn="r">
                <a:defRPr sz="2800"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5pPr>
              <a:lvl6pPr marL="25146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6pPr>
              <a:lvl7pPr marL="29718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7pPr>
              <a:lvl8pPr marL="34290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8pPr>
              <a:lvl9pPr marL="38862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9pPr>
            </a:lstStyle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r>
                <a:rPr lang="es-ES" altLang="es-ES" sz="600">
                  <a:solidFill>
                    <a:srgbClr val="212B6C"/>
                  </a:solidFill>
                  <a:latin typeface="+mn-lt"/>
                </a:rPr>
                <a:t>4.8 Integrar las TIC para mejorar la relación con y entre los profesionales</a:t>
              </a:r>
            </a:p>
          </p:txBody>
        </p:sp>
        <p:sp>
          <p:nvSpPr>
            <p:cNvPr id="78" name="Rectángulo 77"/>
            <p:cNvSpPr/>
            <p:nvPr/>
          </p:nvSpPr>
          <p:spPr>
            <a:xfrm>
              <a:off x="4447339" y="4903627"/>
              <a:ext cx="942808" cy="461665"/>
            </a:xfrm>
            <a:prstGeom prst="rect">
              <a:avLst/>
            </a:prstGeom>
          </p:spPr>
          <p:txBody>
            <a:bodyPr wrap="square" lIns="0">
              <a:spAutoFit/>
            </a:bodyPr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s-ES" altLang="es-ES" sz="600">
                  <a:solidFill>
                    <a:srgbClr val="212B6C"/>
                  </a:solidFill>
                  <a:ea typeface="+mn-ea"/>
                </a:rPr>
                <a:t>4.7 Generar y consolidar alianzas para el desarrollo de la oferta de formación continuada</a:t>
              </a:r>
            </a:p>
          </p:txBody>
        </p:sp>
        <p:sp>
          <p:nvSpPr>
            <p:cNvPr id="79" name="Rectángulo 117"/>
            <p:cNvSpPr>
              <a:spLocks noChangeArrowheads="1"/>
            </p:cNvSpPr>
            <p:nvPr/>
          </p:nvSpPr>
          <p:spPr bwMode="auto">
            <a:xfrm>
              <a:off x="8258904" y="4848627"/>
              <a:ext cx="1125726" cy="55399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>
              <a:spAutoFit/>
            </a:bodyPr>
            <a:lstStyle>
              <a:lvl1pPr algn="r">
                <a:defRPr sz="2800"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1pPr>
              <a:lvl2pPr marL="742950" indent="-285750" algn="r">
                <a:defRPr sz="2800"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2pPr>
              <a:lvl3pPr marL="1143000" indent="-228600" algn="r">
                <a:defRPr sz="2800"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3pPr>
              <a:lvl4pPr marL="1600200" indent="-228600" algn="r">
                <a:defRPr sz="2800"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4pPr>
              <a:lvl5pPr marL="2057400" indent="-228600" algn="r">
                <a:defRPr sz="2800"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5pPr>
              <a:lvl6pPr marL="25146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6pPr>
              <a:lvl7pPr marL="29718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7pPr>
              <a:lvl8pPr marL="34290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8pPr>
              <a:lvl9pPr marL="38862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9pPr>
            </a:lstStyle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r>
                <a:rPr lang="es-ES" altLang="es-ES" sz="600">
                  <a:solidFill>
                    <a:srgbClr val="212B6C"/>
                  </a:solidFill>
                  <a:latin typeface="+mn-lt"/>
                </a:rPr>
                <a:t>7.2 Mejorar y fomentar la relación con la sociedad (asociaciones de pacientes, </a:t>
              </a:r>
              <a:r>
                <a:rPr lang="es-ES" altLang="es-ES" sz="600" err="1">
                  <a:solidFill>
                    <a:srgbClr val="212B6C"/>
                  </a:solidFill>
                  <a:latin typeface="+mn-lt"/>
                </a:rPr>
                <a:t>ONGs</a:t>
              </a:r>
              <a:r>
                <a:rPr lang="es-ES" altLang="es-ES" sz="600">
                  <a:solidFill>
                    <a:srgbClr val="212B6C"/>
                  </a:solidFill>
                  <a:latin typeface="+mn-lt"/>
                </a:rPr>
                <a:t>, ayuntamiento, empresas, etc.) </a:t>
              </a:r>
            </a:p>
          </p:txBody>
        </p:sp>
        <p:sp>
          <p:nvSpPr>
            <p:cNvPr id="80" name="Rectángulo 118"/>
            <p:cNvSpPr>
              <a:spLocks noChangeArrowheads="1"/>
            </p:cNvSpPr>
            <p:nvPr/>
          </p:nvSpPr>
          <p:spPr bwMode="auto">
            <a:xfrm>
              <a:off x="8221383" y="5537258"/>
              <a:ext cx="1032618" cy="46166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 algn="r">
                <a:defRPr sz="2800"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1pPr>
              <a:lvl2pPr marL="742950" indent="-285750" algn="r">
                <a:defRPr sz="2800"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2pPr>
              <a:lvl3pPr marL="1143000" indent="-228600" algn="r">
                <a:defRPr sz="2800"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3pPr>
              <a:lvl4pPr marL="1600200" indent="-228600" algn="r">
                <a:defRPr sz="2800"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4pPr>
              <a:lvl5pPr marL="2057400" indent="-228600" algn="r">
                <a:defRPr sz="2800"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5pPr>
              <a:lvl6pPr marL="25146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6pPr>
              <a:lvl7pPr marL="29718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7pPr>
              <a:lvl8pPr marL="34290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8pPr>
              <a:lvl9pPr marL="38862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9pPr>
            </a:lstStyle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r>
                <a:rPr lang="es-ES" altLang="es-ES" sz="600">
                  <a:solidFill>
                    <a:srgbClr val="212B6C"/>
                  </a:solidFill>
                  <a:latin typeface="+mn-lt"/>
                </a:rPr>
                <a:t>7.5 Potenciar la aplicación de TIC para acercar el hospital a la sociedad</a:t>
              </a:r>
            </a:p>
          </p:txBody>
        </p:sp>
        <p:sp>
          <p:nvSpPr>
            <p:cNvPr id="81" name="Rectángulo 104"/>
            <p:cNvSpPr>
              <a:spLocks noChangeArrowheads="1"/>
            </p:cNvSpPr>
            <p:nvPr/>
          </p:nvSpPr>
          <p:spPr bwMode="auto">
            <a:xfrm>
              <a:off x="5617864" y="5578508"/>
              <a:ext cx="1106070" cy="3693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 algn="r">
                <a:defRPr sz="2800"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1pPr>
              <a:lvl2pPr marL="742950" indent="-285750" algn="r">
                <a:defRPr sz="2800"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2pPr>
              <a:lvl3pPr marL="1143000" indent="-228600" algn="r">
                <a:defRPr sz="2800"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3pPr>
              <a:lvl4pPr marL="1600200" indent="-228600" algn="r">
                <a:defRPr sz="2800"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4pPr>
              <a:lvl5pPr marL="2057400" indent="-228600" algn="r">
                <a:defRPr sz="2800"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5pPr>
              <a:lvl6pPr marL="25146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6pPr>
              <a:lvl7pPr marL="29718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7pPr>
              <a:lvl8pPr marL="34290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8pPr>
              <a:lvl9pPr marL="38862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9pPr>
            </a:lstStyle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r>
                <a:rPr lang="es-ES" altLang="es-ES" sz="600">
                  <a:solidFill>
                    <a:srgbClr val="212B6C"/>
                  </a:solidFill>
                  <a:latin typeface="+mn-lt"/>
                </a:rPr>
                <a:t>5.4 Contribuir al desarrollo de las TIC para fomentar la innovación </a:t>
              </a:r>
            </a:p>
          </p:txBody>
        </p:sp>
        <p:sp>
          <p:nvSpPr>
            <p:cNvPr id="82" name="Rectángulo 107"/>
            <p:cNvSpPr>
              <a:spLocks noChangeArrowheads="1"/>
            </p:cNvSpPr>
            <p:nvPr/>
          </p:nvSpPr>
          <p:spPr bwMode="auto">
            <a:xfrm>
              <a:off x="8216573" y="3084689"/>
              <a:ext cx="913678" cy="2769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>
              <a:spAutoFit/>
            </a:bodyPr>
            <a:lstStyle>
              <a:lvl1pPr algn="r">
                <a:defRPr sz="2800"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1pPr>
              <a:lvl2pPr marL="742950" indent="-285750" algn="r">
                <a:defRPr sz="2800"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2pPr>
              <a:lvl3pPr marL="1143000" indent="-228600" algn="r">
                <a:defRPr sz="2800"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3pPr>
              <a:lvl4pPr marL="1600200" indent="-228600" algn="r">
                <a:defRPr sz="2800"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4pPr>
              <a:lvl5pPr marL="2057400" indent="-228600" algn="r">
                <a:defRPr sz="2800"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5pPr>
              <a:lvl6pPr marL="25146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6pPr>
              <a:lvl7pPr marL="29718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7pPr>
              <a:lvl8pPr marL="34290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8pPr>
              <a:lvl9pPr marL="38862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9pPr>
            </a:lstStyle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r>
                <a:rPr lang="es-ES" altLang="es-ES" sz="600">
                  <a:solidFill>
                    <a:srgbClr val="212B6C"/>
                  </a:solidFill>
                  <a:latin typeface="+mn-lt"/>
                </a:rPr>
                <a:t>7.4 Fortalecer la Responsabilidad Social</a:t>
              </a:r>
            </a:p>
          </p:txBody>
        </p:sp>
        <p:sp>
          <p:nvSpPr>
            <p:cNvPr id="83" name="Elipse 82"/>
            <p:cNvSpPr/>
            <p:nvPr/>
          </p:nvSpPr>
          <p:spPr>
            <a:xfrm rot="20652210">
              <a:off x="8051882" y="3464064"/>
              <a:ext cx="1707239" cy="1315964"/>
            </a:xfrm>
            <a:prstGeom prst="ellipse">
              <a:avLst/>
            </a:prstGeom>
            <a:solidFill>
              <a:srgbClr val="B81B49"/>
            </a:solidFill>
            <a:ln w="28575">
              <a:solidFill>
                <a:srgbClr val="B81B4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/>
            </a:p>
          </p:txBody>
        </p:sp>
        <p:sp>
          <p:nvSpPr>
            <p:cNvPr id="84" name="CuadroTexto 75"/>
            <p:cNvSpPr txBox="1">
              <a:spLocks noChangeArrowheads="1"/>
            </p:cNvSpPr>
            <p:nvPr/>
          </p:nvSpPr>
          <p:spPr bwMode="auto">
            <a:xfrm rot="20652210">
              <a:off x="8134205" y="3662835"/>
              <a:ext cx="1601805" cy="762105"/>
            </a:xfrm>
            <a:prstGeom prst="rect">
              <a:avLst/>
            </a:prstGeom>
            <a:noFill/>
            <a:ln>
              <a:noFill/>
            </a:ln>
          </p:spPr>
          <p:txBody>
            <a:bodyPr anchor="ctr"/>
            <a:lstStyle>
              <a:lvl1pPr algn="r">
                <a:defRPr sz="2800"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1pPr>
              <a:lvl2pPr marL="742950" indent="-285750" algn="r">
                <a:defRPr sz="2800"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2pPr>
              <a:lvl3pPr marL="1143000" indent="-228600" algn="r">
                <a:defRPr sz="2800"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3pPr>
              <a:lvl4pPr marL="1600200" indent="-228600" algn="r">
                <a:defRPr sz="2800"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4pPr>
              <a:lvl5pPr marL="2057400" indent="-228600" algn="r">
                <a:defRPr sz="2800"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5pPr>
              <a:lvl6pPr marL="25146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6pPr>
              <a:lvl7pPr marL="29718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7pPr>
              <a:lvl8pPr marL="34290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8pPr>
              <a:lvl9pPr marL="38862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9pPr>
            </a:lstStyle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r>
                <a:rPr lang="es-ES" sz="1800" b="1">
                  <a:solidFill>
                    <a:schemeClr val="bg1"/>
                  </a:solidFill>
                  <a:latin typeface="+mn-lt"/>
                </a:rPr>
                <a:t>44 Objetivos Estratégico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575229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ángulo redondeado 1"/>
          <p:cNvSpPr/>
          <p:nvPr/>
        </p:nvSpPr>
        <p:spPr>
          <a:xfrm>
            <a:off x="892116" y="1095303"/>
            <a:ext cx="1450478" cy="576155"/>
          </a:xfrm>
          <a:prstGeom prst="roundRect">
            <a:avLst/>
          </a:prstGeom>
          <a:solidFill>
            <a:schemeClr val="bg1"/>
          </a:solidFill>
          <a:ln w="28575">
            <a:solidFill>
              <a:srgbClr val="0FA8D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_tradnl"/>
          </a:p>
        </p:txBody>
      </p:sp>
      <p:sp>
        <p:nvSpPr>
          <p:cNvPr id="3" name="Rectángulo 2"/>
          <p:cNvSpPr/>
          <p:nvPr/>
        </p:nvSpPr>
        <p:spPr>
          <a:xfrm>
            <a:off x="975113" y="1094809"/>
            <a:ext cx="1293341" cy="568411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 eaLnBrk="0" hangingPunct="0">
              <a:defRPr>
                <a:solidFill>
                  <a:srgbClr val="000099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1pPr>
            <a:lvl2pPr marL="742950" indent="-285750" eaLnBrk="0" hangingPunct="0">
              <a:defRPr>
                <a:solidFill>
                  <a:srgbClr val="000099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>
                <a:solidFill>
                  <a:srgbClr val="000099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>
                <a:solidFill>
                  <a:srgbClr val="000099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>
                <a:solidFill>
                  <a:srgbClr val="000099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5pPr>
            <a:lvl6pPr marL="2514600" indent="-228600" algn="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99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6pPr>
            <a:lvl7pPr marL="2971800" indent="-228600" algn="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99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7pPr>
            <a:lvl8pPr marL="3429000" indent="-228600" algn="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99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8pPr>
            <a:lvl9pPr marL="3886200" indent="-228600" algn="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99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9pPr>
          </a:lstStyle>
          <a:p>
            <a:pPr algn="ctr" eaLnBrk="1" hangingPunct="1">
              <a:spcAft>
                <a:spcPts val="300"/>
              </a:spcAft>
            </a:pPr>
            <a:r>
              <a:rPr lang="es-ES" altLang="es-ES" sz="1200" b="1">
                <a:solidFill>
                  <a:srgbClr val="0FA8DC"/>
                </a:solidFill>
                <a:latin typeface="+mn-lt"/>
              </a:rPr>
              <a:t>Paciente</a:t>
            </a:r>
          </a:p>
        </p:txBody>
      </p:sp>
      <p:pic>
        <p:nvPicPr>
          <p:cNvPr id="4" name="Imagen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9261" y="1065857"/>
            <a:ext cx="728676" cy="634509"/>
          </a:xfrm>
          <a:prstGeom prst="rect">
            <a:avLst/>
          </a:prstGeom>
        </p:spPr>
      </p:pic>
      <p:sp>
        <p:nvSpPr>
          <p:cNvPr id="5" name="Rectángulo 4"/>
          <p:cNvSpPr>
            <a:spLocks noChangeArrowheads="1"/>
          </p:cNvSpPr>
          <p:nvPr/>
        </p:nvSpPr>
        <p:spPr bwMode="auto">
          <a:xfrm>
            <a:off x="403078" y="1224719"/>
            <a:ext cx="634313" cy="313038"/>
          </a:xfrm>
          <a:prstGeom prst="rect">
            <a:avLst/>
          </a:prstGeom>
          <a:noFill/>
          <a:ln>
            <a:noFill/>
          </a:ln>
          <a:effectLst/>
        </p:spPr>
        <p:txBody>
          <a:bodyPr anchor="ctr"/>
          <a:lstStyle>
            <a:lvl1pPr eaLnBrk="0" hangingPunct="0">
              <a:defRPr>
                <a:solidFill>
                  <a:srgbClr val="000099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1pPr>
            <a:lvl2pPr marL="742950" indent="-285750" eaLnBrk="0" hangingPunct="0">
              <a:defRPr>
                <a:solidFill>
                  <a:srgbClr val="000099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>
                <a:solidFill>
                  <a:srgbClr val="000099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>
                <a:solidFill>
                  <a:srgbClr val="000099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>
                <a:solidFill>
                  <a:srgbClr val="000099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5pPr>
            <a:lvl6pPr marL="2514600" indent="-228600" algn="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99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6pPr>
            <a:lvl7pPr marL="2971800" indent="-228600" algn="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99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7pPr>
            <a:lvl8pPr marL="3429000" indent="-228600" algn="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99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8pPr>
            <a:lvl9pPr marL="3886200" indent="-228600" algn="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99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9pPr>
          </a:lstStyle>
          <a:p>
            <a:pPr algn="ctr" eaLnBrk="1" hangingPunct="1"/>
            <a:r>
              <a:rPr lang="es-ES" altLang="es-ES" sz="1200">
                <a:solidFill>
                  <a:srgbClr val="0FA8DC"/>
                </a:solidFill>
                <a:latin typeface="+mn-lt"/>
              </a:rPr>
              <a:t>EJE 1</a:t>
            </a:r>
          </a:p>
        </p:txBody>
      </p:sp>
      <p:sp>
        <p:nvSpPr>
          <p:cNvPr id="6" name="Rectángulo redondeado 5"/>
          <p:cNvSpPr/>
          <p:nvPr/>
        </p:nvSpPr>
        <p:spPr>
          <a:xfrm>
            <a:off x="2395521" y="1091185"/>
            <a:ext cx="4939203" cy="580274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_tradnl"/>
          </a:p>
        </p:txBody>
      </p:sp>
      <p:sp>
        <p:nvSpPr>
          <p:cNvPr id="7" name="Rectángulo 6"/>
          <p:cNvSpPr/>
          <p:nvPr/>
        </p:nvSpPr>
        <p:spPr>
          <a:xfrm>
            <a:off x="2545451" y="1172106"/>
            <a:ext cx="3916309" cy="4247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</a:pPr>
            <a:r>
              <a:rPr lang="es-ES" altLang="es-ES" sz="1200">
                <a:solidFill>
                  <a:srgbClr val="212B6C"/>
                </a:solidFill>
              </a:rPr>
              <a:t>Atención personalizada e integral, centrada en el paciente y su entorno, su salud y necesidades.</a:t>
            </a:r>
          </a:p>
        </p:txBody>
      </p:sp>
      <p:graphicFrame>
        <p:nvGraphicFramePr>
          <p:cNvPr id="8" name="Group 76"/>
          <p:cNvGraphicFramePr>
            <a:graphicFrameLocks noGrp="1"/>
          </p:cNvGraphicFramePr>
          <p:nvPr/>
        </p:nvGraphicFramePr>
        <p:xfrm>
          <a:off x="466124" y="1848894"/>
          <a:ext cx="8430770" cy="4081413"/>
        </p:xfrm>
        <a:graphic>
          <a:graphicData uri="http://schemas.openxmlformats.org/drawingml/2006/table">
            <a:tbl>
              <a:tblPr>
                <a:tableStyleId>{69C7853C-536D-4A76-A0AE-DD22124D55A5}</a:tableStyleId>
              </a:tblPr>
              <a:tblGrid>
                <a:gridCol w="147218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50117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86903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107813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48056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275649">
                <a:tc>
                  <a:txBody>
                    <a:bodyPr/>
                    <a:lstStyle>
                      <a:lvl1pPr marL="90488">
                        <a:lnSpc>
                          <a:spcPct val="90000"/>
                        </a:lnSpc>
                        <a:spcBef>
                          <a:spcPts val="75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marL="742950" indent="-285750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marL="1143000" indent="-228600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3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marL="1600200" indent="-228600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1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marL="2057400" indent="-228600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1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1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1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1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1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90488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s-ES" altLang="es-ES" sz="90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Objetivos Estratégicos</a:t>
                      </a:r>
                      <a:endParaRPr kumimoji="0" lang="es-ES" altLang="es-ES" sz="900" b="0" i="0" u="none" strike="noStrike" cap="none" normalizeH="0" baseline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lt"/>
                        <a:ea typeface="ＭＳ Ｐゴシック" panose="020B0600070205080204" pitchFamily="34" charset="-128"/>
                      </a:endParaRPr>
                    </a:p>
                  </a:txBody>
                  <a:tcPr marL="3180" marR="36000" marT="2936" marB="0" anchor="ctr" horzOverflow="overflow">
                    <a:solidFill>
                      <a:srgbClr val="212B6C"/>
                    </a:solidFill>
                  </a:tcPr>
                </a:tc>
                <a:tc>
                  <a:txBody>
                    <a:bodyPr/>
                    <a:lstStyle>
                      <a:lvl1pPr marL="90488">
                        <a:lnSpc>
                          <a:spcPct val="90000"/>
                        </a:lnSpc>
                        <a:spcBef>
                          <a:spcPts val="75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marL="742950" indent="-285750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marL="1143000" indent="-228600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3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marL="1600200" indent="-228600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1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marL="2057400" indent="-228600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1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1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1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1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1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90488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s-ES" altLang="es-ES" sz="90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Plan de acción</a:t>
                      </a:r>
                      <a:endParaRPr kumimoji="0" lang="es-ES" altLang="es-ES" sz="900" b="0" i="0" u="none" strike="noStrike" cap="none" normalizeH="0" baseline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lt"/>
                        <a:ea typeface="ＭＳ Ｐゴシック" panose="020B0600070205080204" pitchFamily="34" charset="-128"/>
                      </a:endParaRPr>
                    </a:p>
                  </a:txBody>
                  <a:tcPr marL="3180" marR="108000" marT="2936" marB="0" anchor="ctr" horzOverflow="overflow">
                    <a:solidFill>
                      <a:srgbClr val="212B6C"/>
                    </a:solidFill>
                  </a:tcPr>
                </a:tc>
                <a:tc>
                  <a:txBody>
                    <a:bodyPr/>
                    <a:lstStyle>
                      <a:lvl1pPr marL="90488">
                        <a:lnSpc>
                          <a:spcPct val="90000"/>
                        </a:lnSpc>
                        <a:spcBef>
                          <a:spcPts val="75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marL="742950" indent="-285750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marL="1143000" indent="-228600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3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marL="1600200" indent="-228600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1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marL="2057400" indent="-228600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1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1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1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1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1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90488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s-ES" altLang="es-ES" sz="90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Actividades</a:t>
                      </a:r>
                      <a:endParaRPr kumimoji="0" lang="es-ES" altLang="es-ES" sz="900" b="0" i="0" u="none" strike="noStrike" cap="none" normalizeH="0" baseline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lt"/>
                        <a:ea typeface="ＭＳ Ｐゴシック" panose="020B0600070205080204" pitchFamily="34" charset="-128"/>
                      </a:endParaRPr>
                    </a:p>
                  </a:txBody>
                  <a:tcPr marL="3180" marR="36000" marT="2936" marB="0" anchor="ctr" horzOverflow="overflow">
                    <a:solidFill>
                      <a:srgbClr val="212B6C"/>
                    </a:solidFill>
                  </a:tcPr>
                </a:tc>
                <a:tc>
                  <a:txBody>
                    <a:bodyPr/>
                    <a:lstStyle>
                      <a:lvl1pPr marL="90488">
                        <a:lnSpc>
                          <a:spcPct val="90000"/>
                        </a:lnSpc>
                        <a:spcBef>
                          <a:spcPts val="75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marL="742950" indent="-285750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marL="1143000" indent="-228600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3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marL="1600200" indent="-228600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1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marL="2057400" indent="-228600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1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1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1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1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1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90488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s-ES" altLang="es-ES" sz="90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Cronograma</a:t>
                      </a:r>
                      <a:endParaRPr kumimoji="0" lang="es-ES" altLang="es-ES" sz="900" b="0" i="0" u="none" strike="noStrike" cap="none" normalizeH="0" baseline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lt"/>
                        <a:ea typeface="ＭＳ Ｐゴシック" panose="020B0600070205080204" pitchFamily="34" charset="-128"/>
                      </a:endParaRPr>
                    </a:p>
                  </a:txBody>
                  <a:tcPr marL="3180" marR="3180" marT="2936" marB="0" anchor="ctr" horzOverflow="overflow">
                    <a:solidFill>
                      <a:srgbClr val="212B6C"/>
                    </a:solidFill>
                  </a:tcPr>
                </a:tc>
                <a:tc>
                  <a:txBody>
                    <a:bodyPr/>
                    <a:lstStyle>
                      <a:lvl1pPr marL="90488">
                        <a:lnSpc>
                          <a:spcPct val="90000"/>
                        </a:lnSpc>
                        <a:spcBef>
                          <a:spcPts val="75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marL="742950" indent="-285750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marL="1143000" indent="-228600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3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marL="1600200" indent="-228600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1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marL="2057400" indent="-228600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1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1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1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1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1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90488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s-ES" altLang="es-ES" sz="90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Indicadores </a:t>
                      </a:r>
                    </a:p>
                    <a:p>
                      <a:pPr marL="90488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s-ES" altLang="es-ES" sz="90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de Seguimiento</a:t>
                      </a:r>
                      <a:endParaRPr kumimoji="0" lang="es-ES" altLang="es-ES" sz="900" b="0" i="0" u="none" strike="noStrike" cap="none" normalizeH="0" baseline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lt"/>
                        <a:ea typeface="ＭＳ Ｐゴシック" panose="020B0600070205080204" pitchFamily="34" charset="-128"/>
                      </a:endParaRPr>
                    </a:p>
                  </a:txBody>
                  <a:tcPr marL="3180" marR="3180" marT="2936" marB="0" anchor="ctr" horzOverflow="overflow">
                    <a:solidFill>
                      <a:srgbClr val="212B6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91644">
                <a:tc rowSpan="7">
                  <a:txBody>
                    <a:bodyPr/>
                    <a:lstStyle>
                      <a:lvl1pPr marL="90488">
                        <a:lnSpc>
                          <a:spcPct val="90000"/>
                        </a:lnSpc>
                        <a:spcBef>
                          <a:spcPts val="75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marL="742950" indent="-285750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marL="1143000" indent="-228600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3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marL="1600200" indent="-228600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1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marL="2057400" indent="-228600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1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1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1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1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1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90488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s-ES" altLang="es-ES" sz="800" u="none" strike="noStrike" cap="none" normalizeH="0" baseline="0">
                          <a:ln>
                            <a:noFill/>
                          </a:ln>
                          <a:effectLst/>
                          <a:latin typeface="+mn-lt"/>
                        </a:rPr>
                        <a:t>O.E. 1.3</a:t>
                      </a:r>
                    </a:p>
                    <a:p>
                      <a:pPr marL="90488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s-ES" altLang="es-ES" sz="800" u="none" strike="noStrike" cap="none" normalizeH="0" baseline="0">
                          <a:ln>
                            <a:noFill/>
                          </a:ln>
                          <a:effectLst/>
                          <a:latin typeface="+mn-lt"/>
                        </a:rPr>
                        <a:t>Consolidar el compromiso por la seguridad, dirigido a minimizar los riesgos y daños innecesarios para los pacientes</a:t>
                      </a:r>
                      <a:endParaRPr kumimoji="0" lang="es-ES" altLang="es-ES" sz="800" b="0" i="0" u="none" strike="noStrike" cap="none" normalizeH="0" baseline="0">
                        <a:ln>
                          <a:noFill/>
                        </a:ln>
                        <a:solidFill>
                          <a:srgbClr val="212B6C"/>
                        </a:solidFill>
                        <a:effectLst/>
                        <a:latin typeface="+mn-lt"/>
                        <a:ea typeface="ＭＳ Ｐゴシック" panose="020B0600070205080204" pitchFamily="34" charset="-128"/>
                      </a:endParaRPr>
                    </a:p>
                  </a:txBody>
                  <a:tcPr marL="3180" marR="144000" marT="2936" marB="0" anchor="ctr" horzOverflow="overflow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 rowSpan="2">
                  <a:txBody>
                    <a:bodyPr/>
                    <a:lstStyle>
                      <a:lvl1pPr marL="90488">
                        <a:lnSpc>
                          <a:spcPct val="90000"/>
                        </a:lnSpc>
                        <a:spcBef>
                          <a:spcPts val="75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marL="742950" indent="-285750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marL="1143000" indent="-228600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3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marL="1600200" indent="-228600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1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marL="2057400" indent="-228600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1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1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1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1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1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90488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s-ES" altLang="es-ES" sz="800" u="none" strike="noStrike" cap="none" normalizeH="0" baseline="0">
                        <a:ln>
                          <a:noFill/>
                        </a:ln>
                        <a:effectLst/>
                        <a:latin typeface="+mn-lt"/>
                      </a:endParaRPr>
                    </a:p>
                    <a:p>
                      <a:pPr marL="90488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s-ES" altLang="es-ES" sz="800" u="none" strike="noStrike" cap="none" normalizeH="0" baseline="0">
                          <a:ln>
                            <a:noFill/>
                          </a:ln>
                          <a:effectLst/>
                          <a:latin typeface="+mn-lt"/>
                        </a:rPr>
                        <a:t>1.3.4. Promover la implantación de la norma UNE 179003 (Sistema de Gestión de Riesgos para la Seguridad del Paciente)</a:t>
                      </a:r>
                    </a:p>
                    <a:p>
                      <a:pPr marL="90488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s-ES" altLang="es-ES" sz="800" u="none" strike="noStrike" cap="none" normalizeH="0" baseline="0">
                        <a:ln>
                          <a:noFill/>
                        </a:ln>
                        <a:effectLst/>
                        <a:latin typeface="+mn-lt"/>
                      </a:endParaRPr>
                    </a:p>
                    <a:p>
                      <a:pPr marL="90488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s-ES" altLang="es-ES" sz="800" u="none" strike="noStrike" cap="none" normalizeH="0" baseline="0">
                          <a:ln>
                            <a:noFill/>
                          </a:ln>
                          <a:effectLst/>
                          <a:latin typeface="+mn-lt"/>
                        </a:rPr>
                        <a:t>Responsable:</a:t>
                      </a:r>
                    </a:p>
                    <a:p>
                      <a:pPr marL="90488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s-ES" altLang="es-ES" sz="800" u="none" strike="noStrike" cap="none" normalizeH="0" baseline="0">
                          <a:ln>
                            <a:noFill/>
                          </a:ln>
                          <a:effectLst/>
                          <a:latin typeface="+mn-lt"/>
                        </a:rPr>
                        <a:t>Director de Planificación</a:t>
                      </a:r>
                    </a:p>
                    <a:p>
                      <a:pPr marL="90488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s-ES" altLang="es-ES" sz="800" b="0" i="0" u="none" strike="noStrike" cap="none" normalizeH="0" baseline="0">
                        <a:ln>
                          <a:noFill/>
                        </a:ln>
                        <a:solidFill>
                          <a:srgbClr val="212B6C"/>
                        </a:solidFill>
                        <a:effectLst/>
                        <a:latin typeface="+mn-lt"/>
                        <a:ea typeface="ＭＳ Ｐゴシック" panose="020B0600070205080204" pitchFamily="34" charset="-128"/>
                        <a:cs typeface="Arial" panose="020B0604020202020204" pitchFamily="34" charset="0"/>
                      </a:endParaRPr>
                    </a:p>
                  </a:txBody>
                  <a:tcPr marL="3180" marR="108000" marT="2936" marB="0" anchor="ctr" horzOverflow="overflow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90488">
                        <a:lnSpc>
                          <a:spcPct val="90000"/>
                        </a:lnSpc>
                        <a:spcBef>
                          <a:spcPts val="75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marL="742950" indent="-285750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marL="1143000" indent="-228600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3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marL="1600200" indent="-228600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1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marL="2057400" indent="-228600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1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1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1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1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1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90488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s-ES" altLang="es-ES" sz="800" u="none" strike="noStrike" cap="none" normalizeH="0" baseline="0">
                          <a:ln>
                            <a:noFill/>
                          </a:ln>
                          <a:effectLst/>
                          <a:latin typeface="+mn-lt"/>
                        </a:rPr>
                        <a:t>1.3.4.a) Implantación en un Servicio/Unidad.</a:t>
                      </a:r>
                      <a:endParaRPr kumimoji="0" lang="es-ES" altLang="es-ES" sz="800" b="0" i="0" u="none" strike="noStrike" cap="none" normalizeH="0" baseline="0">
                        <a:ln>
                          <a:noFill/>
                        </a:ln>
                        <a:solidFill>
                          <a:srgbClr val="212B6C"/>
                        </a:solidFill>
                        <a:effectLst/>
                        <a:latin typeface="+mn-lt"/>
                        <a:ea typeface="ＭＳ Ｐゴシック" panose="020B0600070205080204" pitchFamily="34" charset="-128"/>
                        <a:cs typeface="Arial" panose="020B0604020202020204" pitchFamily="34" charset="0"/>
                      </a:endParaRPr>
                    </a:p>
                  </a:txBody>
                  <a:tcPr marL="3180" marR="36000" marT="2936" marB="0" anchor="ctr" horzOverflow="overflow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90488">
                        <a:lnSpc>
                          <a:spcPct val="90000"/>
                        </a:lnSpc>
                        <a:spcBef>
                          <a:spcPts val="75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marL="742950" indent="-285750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marL="1143000" indent="-228600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3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marL="1600200" indent="-228600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1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marL="2057400" indent="-228600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1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1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1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1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1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90488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s-ES" altLang="es-ES" sz="800" u="none" strike="noStrike" cap="none" normalizeH="0" baseline="0">
                          <a:ln>
                            <a:noFill/>
                          </a:ln>
                          <a:effectLst/>
                          <a:latin typeface="+mn-lt"/>
                        </a:rPr>
                        <a:t>T3-2016</a:t>
                      </a:r>
                      <a:endParaRPr kumimoji="0" lang="es-ES" altLang="es-ES" sz="800" b="1" i="0" u="none" strike="noStrike" cap="none" normalizeH="0" baseline="0">
                        <a:ln>
                          <a:noFill/>
                        </a:ln>
                        <a:solidFill>
                          <a:srgbClr val="0FA8DC"/>
                        </a:solidFill>
                        <a:effectLst/>
                        <a:latin typeface="+mn-lt"/>
                        <a:ea typeface="ＭＳ Ｐゴシック" panose="020B0600070205080204" pitchFamily="34" charset="-128"/>
                      </a:endParaRPr>
                    </a:p>
                  </a:txBody>
                  <a:tcPr marL="3180" marR="3180" marT="2936" marB="0" anchor="ctr" horzOverflow="overflow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 rowSpan="2">
                  <a:txBody>
                    <a:bodyPr/>
                    <a:lstStyle>
                      <a:lvl1pPr marL="85725" indent="-85725">
                        <a:lnSpc>
                          <a:spcPct val="90000"/>
                        </a:lnSpc>
                        <a:spcBef>
                          <a:spcPts val="75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marL="742950" indent="-285750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marL="1143000" indent="-228600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3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marL="1600200" indent="-228600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1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marL="2057400" indent="-228600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1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1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1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1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1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85725" marR="0" lvl="0" indent="-85725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es-ES" altLang="es-ES" sz="800" u="none" strike="noStrike" cap="none" normalizeH="0" baseline="0">
                          <a:ln>
                            <a:noFill/>
                          </a:ln>
                          <a:effectLst/>
                          <a:latin typeface="+mn-lt"/>
                        </a:rPr>
                        <a:t> Implantación Norma Servicio/Unidad</a:t>
                      </a:r>
                    </a:p>
                    <a:p>
                      <a:pPr marL="85725" marR="0" lvl="0" indent="-85725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es-ES" altLang="es-ES" sz="800" u="none" strike="noStrike" cap="none" normalizeH="0" baseline="0">
                          <a:ln>
                            <a:noFill/>
                          </a:ln>
                          <a:effectLst/>
                          <a:latin typeface="+mn-lt"/>
                        </a:rPr>
                        <a:t> </a:t>
                      </a:r>
                    </a:p>
                    <a:p>
                      <a:pPr marL="85725" marR="0" lvl="0" indent="-85725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es-ES" altLang="es-ES" sz="800" u="none" strike="noStrike" cap="none" normalizeH="0" baseline="0">
                          <a:ln>
                            <a:noFill/>
                          </a:ln>
                          <a:effectLst/>
                          <a:latin typeface="+mn-lt"/>
                        </a:rPr>
                        <a:t> Cronograma de implantación.</a:t>
                      </a:r>
                    </a:p>
                    <a:p>
                      <a:pPr marL="85725" marR="0" lvl="0" indent="-85725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</a:pPr>
                      <a:endParaRPr kumimoji="0" lang="es-ES" altLang="es-ES" sz="800" b="0" i="0" u="none" strike="noStrike" cap="none" normalizeH="0" baseline="0">
                        <a:ln>
                          <a:noFill/>
                        </a:ln>
                        <a:solidFill>
                          <a:srgbClr val="212B6C"/>
                        </a:solidFill>
                        <a:effectLst/>
                        <a:latin typeface="+mn-lt"/>
                        <a:ea typeface="ＭＳ Ｐゴシック" panose="020B0600070205080204" pitchFamily="34" charset="-128"/>
                        <a:cs typeface="Arial" panose="020B0604020202020204" pitchFamily="34" charset="0"/>
                      </a:endParaRPr>
                    </a:p>
                  </a:txBody>
                  <a:tcPr marL="3180" marR="3180" marT="2936" marB="0" anchor="ctr" horzOverflow="overflow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896289">
                <a:tc vMerge="1">
                  <a:txBody>
                    <a:bodyPr/>
                    <a:lstStyle/>
                    <a:p>
                      <a:endParaRPr lang="es-E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s-ES"/>
                    </a:p>
                  </a:txBody>
                  <a:tcPr/>
                </a:tc>
                <a:tc>
                  <a:txBody>
                    <a:bodyPr/>
                    <a:lstStyle>
                      <a:lvl1pPr marL="90488">
                        <a:lnSpc>
                          <a:spcPct val="90000"/>
                        </a:lnSpc>
                        <a:spcBef>
                          <a:spcPts val="75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marL="742950" indent="-285750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marL="1143000" indent="-228600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3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marL="1600200" indent="-228600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1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marL="2057400" indent="-228600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1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1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1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1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1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90488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s-ES" altLang="es-ES" sz="800" u="none" strike="noStrike" cap="none" normalizeH="0" baseline="0">
                          <a:ln>
                            <a:noFill/>
                          </a:ln>
                          <a:effectLst/>
                          <a:latin typeface="+mn-lt"/>
                        </a:rPr>
                        <a:t>1.3.4.b)  Realización de cronograma de implantación para resto de Servicios/Unidades del Hospital.</a:t>
                      </a:r>
                      <a:endParaRPr kumimoji="0" lang="es-ES" altLang="es-ES" sz="800" b="0" i="0" u="none" strike="noStrike" cap="none" normalizeH="0" baseline="0">
                        <a:ln>
                          <a:noFill/>
                        </a:ln>
                        <a:solidFill>
                          <a:srgbClr val="212B6C"/>
                        </a:solidFill>
                        <a:effectLst/>
                        <a:latin typeface="+mn-lt"/>
                        <a:ea typeface="ＭＳ Ｐゴシック" panose="020B0600070205080204" pitchFamily="34" charset="-128"/>
                        <a:cs typeface="Arial" panose="020B0604020202020204" pitchFamily="34" charset="0"/>
                      </a:endParaRPr>
                    </a:p>
                  </a:txBody>
                  <a:tcPr marL="3180" marR="36000" marT="2936" marB="0" anchor="ctr" horzOverflow="overflow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90488">
                        <a:lnSpc>
                          <a:spcPct val="90000"/>
                        </a:lnSpc>
                        <a:spcBef>
                          <a:spcPts val="75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marL="742950" indent="-285750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marL="1143000" indent="-228600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3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marL="1600200" indent="-228600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1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marL="2057400" indent="-228600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1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1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1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1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1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90488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s-ES" altLang="es-ES" sz="800" u="none" strike="noStrike" cap="none" normalizeH="0" baseline="0">
                          <a:ln>
                            <a:noFill/>
                          </a:ln>
                          <a:effectLst/>
                          <a:latin typeface="+mn-lt"/>
                        </a:rPr>
                        <a:t>T4-2016</a:t>
                      </a:r>
                      <a:endParaRPr kumimoji="0" lang="es-ES" altLang="es-ES" sz="800" b="1" i="0" u="none" strike="noStrike" cap="none" normalizeH="0" baseline="0">
                        <a:ln>
                          <a:noFill/>
                        </a:ln>
                        <a:solidFill>
                          <a:srgbClr val="0FA8DC"/>
                        </a:solidFill>
                        <a:effectLst/>
                        <a:latin typeface="+mn-lt"/>
                        <a:ea typeface="ＭＳ Ｐゴシック" panose="020B0600070205080204" pitchFamily="34" charset="-128"/>
                      </a:endParaRPr>
                    </a:p>
                  </a:txBody>
                  <a:tcPr marL="3180" marR="3180" marT="2936" marB="0" anchor="ctr" horzOverflow="overflow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s-E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39870">
                <a:tc vMerge="1">
                  <a:txBody>
                    <a:bodyPr/>
                    <a:lstStyle/>
                    <a:p>
                      <a:endParaRPr lang="es-ES"/>
                    </a:p>
                  </a:txBody>
                  <a:tcPr/>
                </a:tc>
                <a:tc rowSpan="3">
                  <a:txBody>
                    <a:bodyPr/>
                    <a:lstStyle>
                      <a:lvl1pPr marL="90488">
                        <a:lnSpc>
                          <a:spcPct val="90000"/>
                        </a:lnSpc>
                        <a:spcBef>
                          <a:spcPts val="75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marL="742950" indent="-285750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marL="1143000" indent="-228600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3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marL="1600200" indent="-228600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1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marL="2057400" indent="-228600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1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1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1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1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1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90488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s-ES" altLang="es-ES" sz="800" u="none" strike="noStrike" cap="none" normalizeH="0" baseline="0">
                          <a:ln>
                            <a:noFill/>
                          </a:ln>
                          <a:effectLst/>
                          <a:latin typeface="+mn-lt"/>
                        </a:rPr>
                        <a:t>1.3.5. Desarrollar los Sistemas de Información para la Gestión de Riesgos.</a:t>
                      </a:r>
                    </a:p>
                    <a:p>
                      <a:pPr marL="90488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s-ES" altLang="es-ES" sz="800" u="none" strike="noStrike" cap="none" normalizeH="0" baseline="0">
                        <a:ln>
                          <a:noFill/>
                        </a:ln>
                        <a:effectLst/>
                        <a:latin typeface="+mn-lt"/>
                      </a:endParaRPr>
                    </a:p>
                    <a:p>
                      <a:pPr marL="90488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s-ES" altLang="es-ES" sz="800" u="none" strike="noStrike" cap="none" normalizeH="0" baseline="0">
                          <a:ln>
                            <a:noFill/>
                          </a:ln>
                          <a:effectLst/>
                          <a:latin typeface="+mn-lt"/>
                        </a:rPr>
                        <a:t>Responsable:</a:t>
                      </a:r>
                    </a:p>
                    <a:p>
                      <a:pPr marL="90488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s-ES" altLang="es-ES" sz="800" u="none" strike="noStrike" cap="none" normalizeH="0" baseline="0">
                          <a:ln>
                            <a:noFill/>
                          </a:ln>
                          <a:effectLst/>
                          <a:latin typeface="+mn-lt"/>
                        </a:rPr>
                        <a:t>Director de Planificación</a:t>
                      </a:r>
                    </a:p>
                    <a:p>
                      <a:pPr marL="90488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s-ES" altLang="es-ES" sz="800" b="0" i="0" u="none" strike="noStrike" cap="none" normalizeH="0" baseline="0">
                        <a:ln>
                          <a:noFill/>
                        </a:ln>
                        <a:solidFill>
                          <a:srgbClr val="212B6C"/>
                        </a:solidFill>
                        <a:effectLst/>
                        <a:latin typeface="+mn-lt"/>
                        <a:ea typeface="ＭＳ Ｐゴシック" panose="020B0600070205080204" pitchFamily="34" charset="-128"/>
                        <a:cs typeface="Arial" panose="020B0604020202020204" pitchFamily="34" charset="0"/>
                      </a:endParaRPr>
                    </a:p>
                  </a:txBody>
                  <a:tcPr marL="3180" marR="108000" marT="2936" marB="0" anchor="ctr" horzOverflow="overflow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90488">
                        <a:lnSpc>
                          <a:spcPct val="90000"/>
                        </a:lnSpc>
                        <a:spcBef>
                          <a:spcPts val="75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marL="742950" indent="-285750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marL="1143000" indent="-228600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3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marL="1600200" indent="-228600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1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marL="2057400" indent="-228600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1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1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1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1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1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90488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s-ES" altLang="es-ES" sz="800" u="none" strike="noStrike" cap="none" normalizeH="0" baseline="0">
                          <a:ln>
                            <a:noFill/>
                          </a:ln>
                          <a:effectLst/>
                          <a:latin typeface="+mn-lt"/>
                        </a:rPr>
                        <a:t>1.3.5.a) Analizar las funcionalidades existentes </a:t>
                      </a:r>
                    </a:p>
                    <a:p>
                      <a:pPr marL="90488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s-ES" altLang="es-ES" sz="800" u="none" strike="noStrike" cap="none" normalizeH="0" baseline="0">
                          <a:ln>
                            <a:noFill/>
                          </a:ln>
                          <a:effectLst/>
                          <a:latin typeface="+mn-lt"/>
                        </a:rPr>
                        <a:t>en la HCE del H12O y otras HCE </a:t>
                      </a:r>
                      <a:endParaRPr kumimoji="0" lang="es-ES" altLang="es-ES" sz="800" b="0" i="0" u="none" strike="noStrike" cap="none" normalizeH="0" baseline="0">
                        <a:ln>
                          <a:noFill/>
                        </a:ln>
                        <a:solidFill>
                          <a:srgbClr val="212B6C"/>
                        </a:solidFill>
                        <a:effectLst/>
                        <a:latin typeface="+mn-lt"/>
                        <a:ea typeface="ＭＳ Ｐゴシック" panose="020B0600070205080204" pitchFamily="34" charset="-128"/>
                        <a:cs typeface="Arial" panose="020B0604020202020204" pitchFamily="34" charset="0"/>
                      </a:endParaRPr>
                    </a:p>
                  </a:txBody>
                  <a:tcPr marL="3180" marR="36000" marT="2936" marB="0" anchor="ctr" horzOverflow="overflow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90488">
                        <a:lnSpc>
                          <a:spcPct val="90000"/>
                        </a:lnSpc>
                        <a:spcBef>
                          <a:spcPts val="75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marL="742950" indent="-285750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marL="1143000" indent="-228600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3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marL="1600200" indent="-228600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1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marL="2057400" indent="-228600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1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1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1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1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1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90488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s-ES" altLang="es-ES" sz="800" u="none" strike="noStrike" cap="none" normalizeH="0" baseline="0">
                          <a:ln>
                            <a:noFill/>
                          </a:ln>
                          <a:effectLst/>
                          <a:latin typeface="+mn-lt"/>
                        </a:rPr>
                        <a:t>T1-2016</a:t>
                      </a:r>
                      <a:endParaRPr kumimoji="0" lang="es-ES" altLang="es-ES" sz="800" b="1" i="0" u="none" strike="noStrike" cap="none" normalizeH="0" baseline="0">
                        <a:ln>
                          <a:noFill/>
                        </a:ln>
                        <a:solidFill>
                          <a:srgbClr val="0FA8DC"/>
                        </a:solidFill>
                        <a:effectLst/>
                        <a:latin typeface="+mn-lt"/>
                        <a:ea typeface="ＭＳ Ｐゴシック" panose="020B0600070205080204" pitchFamily="34" charset="-128"/>
                      </a:endParaRPr>
                    </a:p>
                  </a:txBody>
                  <a:tcPr marL="3180" marR="3180" marT="2936" marB="0" anchor="ctr" horzOverflow="overflow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90488">
                        <a:lnSpc>
                          <a:spcPct val="90000"/>
                        </a:lnSpc>
                        <a:spcBef>
                          <a:spcPts val="75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marL="742950" indent="-285750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marL="1143000" indent="-228600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3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marL="1600200" indent="-228600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1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marL="2057400" indent="-228600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1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1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1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1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1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90488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es-ES" altLang="es-ES" sz="800" u="none" strike="noStrike" cap="none" normalizeH="0" baseline="0">
                          <a:ln>
                            <a:noFill/>
                          </a:ln>
                          <a:effectLst/>
                          <a:latin typeface="+mn-lt"/>
                        </a:rPr>
                        <a:t>Informe análisis.</a:t>
                      </a:r>
                      <a:endParaRPr kumimoji="0" lang="es-ES" altLang="es-ES" sz="800" b="0" i="0" u="none" strike="noStrike" cap="none" normalizeH="0" baseline="0">
                        <a:ln>
                          <a:noFill/>
                        </a:ln>
                        <a:solidFill>
                          <a:srgbClr val="212B6C"/>
                        </a:solidFill>
                        <a:effectLst/>
                        <a:latin typeface="+mn-lt"/>
                        <a:ea typeface="ＭＳ Ｐゴシック" panose="020B0600070205080204" pitchFamily="34" charset="-128"/>
                        <a:cs typeface="Arial" panose="020B0604020202020204" pitchFamily="34" charset="0"/>
                      </a:endParaRPr>
                    </a:p>
                  </a:txBody>
                  <a:tcPr marL="3180" marR="3180" marT="2936" marB="0" anchor="ctr" horzOverflow="overflow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77910">
                <a:tc vMerge="1">
                  <a:txBody>
                    <a:bodyPr/>
                    <a:lstStyle/>
                    <a:p>
                      <a:endParaRPr lang="es-E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s-ES"/>
                    </a:p>
                  </a:txBody>
                  <a:tcPr/>
                </a:tc>
                <a:tc>
                  <a:txBody>
                    <a:bodyPr/>
                    <a:lstStyle>
                      <a:lvl1pPr marL="90488">
                        <a:lnSpc>
                          <a:spcPct val="90000"/>
                        </a:lnSpc>
                        <a:spcBef>
                          <a:spcPts val="75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marL="742950" indent="-285750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marL="1143000" indent="-228600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3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marL="1600200" indent="-228600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1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marL="2057400" indent="-228600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1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1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1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1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1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90488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s-ES" altLang="es-ES" sz="800" u="none" strike="noStrike" cap="none" normalizeH="0" baseline="0">
                          <a:ln>
                            <a:noFill/>
                          </a:ln>
                          <a:effectLst/>
                          <a:latin typeface="+mn-lt"/>
                        </a:rPr>
                        <a:t>1.3.5.b)  Seleccionar e implementar alarmas, </a:t>
                      </a:r>
                    </a:p>
                    <a:p>
                      <a:pPr marL="90488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s-ES" altLang="es-ES" sz="800" u="none" strike="noStrike" cap="none" normalizeH="0" baseline="0">
                          <a:ln>
                            <a:noFill/>
                          </a:ln>
                          <a:effectLst/>
                          <a:latin typeface="+mn-lt"/>
                        </a:rPr>
                        <a:t>alertas y algoritmos para la Seguridad del Paciente.</a:t>
                      </a:r>
                      <a:endParaRPr kumimoji="0" lang="es-ES" altLang="es-ES" sz="800" b="0" i="0" u="none" strike="noStrike" cap="none" normalizeH="0" baseline="0">
                        <a:ln>
                          <a:noFill/>
                        </a:ln>
                        <a:solidFill>
                          <a:srgbClr val="212B6C"/>
                        </a:solidFill>
                        <a:effectLst/>
                        <a:latin typeface="+mn-lt"/>
                        <a:ea typeface="ＭＳ Ｐゴシック" panose="020B0600070205080204" pitchFamily="34" charset="-128"/>
                        <a:cs typeface="Arial" panose="020B0604020202020204" pitchFamily="34" charset="0"/>
                      </a:endParaRPr>
                    </a:p>
                  </a:txBody>
                  <a:tcPr marL="3180" marR="36000" marT="2936" marB="0" anchor="ctr" horzOverflow="overflow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90488">
                        <a:lnSpc>
                          <a:spcPct val="90000"/>
                        </a:lnSpc>
                        <a:spcBef>
                          <a:spcPts val="75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marL="742950" indent="-285750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marL="1143000" indent="-228600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3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marL="1600200" indent="-228600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1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marL="2057400" indent="-228600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1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1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1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1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1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90488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s-ES" altLang="es-ES" sz="800" u="none" strike="noStrike" cap="none" normalizeH="0" baseline="0">
                          <a:ln>
                            <a:noFill/>
                          </a:ln>
                          <a:effectLst/>
                          <a:latin typeface="+mn-lt"/>
                        </a:rPr>
                        <a:t>T2-2016</a:t>
                      </a:r>
                      <a:endParaRPr kumimoji="0" lang="es-ES" altLang="es-ES" sz="800" b="1" i="0" u="none" strike="noStrike" cap="none" normalizeH="0" baseline="0">
                        <a:ln>
                          <a:noFill/>
                        </a:ln>
                        <a:solidFill>
                          <a:srgbClr val="0FA8DC"/>
                        </a:solidFill>
                        <a:effectLst/>
                        <a:latin typeface="+mn-lt"/>
                        <a:ea typeface="ＭＳ Ｐゴシック" panose="020B0600070205080204" pitchFamily="34" charset="-128"/>
                      </a:endParaRPr>
                    </a:p>
                  </a:txBody>
                  <a:tcPr marL="3180" marR="3180" marT="2936" marB="0" anchor="ctr" horzOverflow="overflow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90488">
                        <a:lnSpc>
                          <a:spcPct val="90000"/>
                        </a:lnSpc>
                        <a:spcBef>
                          <a:spcPts val="75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marL="742950" indent="-285750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marL="1143000" indent="-228600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3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marL="1600200" indent="-228600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1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marL="2057400" indent="-228600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1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1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1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1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1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90488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s-ES" altLang="es-ES" sz="800" u="none" strike="noStrike" cap="none" normalizeH="0" baseline="0">
                          <a:ln>
                            <a:noFill/>
                          </a:ln>
                          <a:effectLst/>
                          <a:latin typeface="+mn-lt"/>
                        </a:rPr>
                        <a:t>Nª de alertas, alarmas y algoritmos implementados en HCE</a:t>
                      </a:r>
                      <a:endParaRPr kumimoji="0" lang="es-ES" altLang="es-ES" sz="800" b="0" i="0" u="none" strike="noStrike" cap="none" normalizeH="0" baseline="0">
                        <a:ln>
                          <a:noFill/>
                        </a:ln>
                        <a:solidFill>
                          <a:srgbClr val="212B6C"/>
                        </a:solidFill>
                        <a:effectLst/>
                        <a:latin typeface="+mn-lt"/>
                        <a:ea typeface="ＭＳ Ｐゴシック" panose="020B0600070205080204" pitchFamily="34" charset="-128"/>
                        <a:cs typeface="Arial" panose="020B0604020202020204" pitchFamily="34" charset="0"/>
                      </a:endParaRPr>
                    </a:p>
                  </a:txBody>
                  <a:tcPr marL="3180" marR="3180" marT="2936" marB="0" anchor="ctr" horzOverflow="overflow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39870">
                <a:tc vMerge="1">
                  <a:txBody>
                    <a:bodyPr/>
                    <a:lstStyle/>
                    <a:p>
                      <a:endParaRPr lang="es-E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s-ES"/>
                    </a:p>
                  </a:txBody>
                  <a:tcPr/>
                </a:tc>
                <a:tc>
                  <a:txBody>
                    <a:bodyPr/>
                    <a:lstStyle>
                      <a:lvl1pPr marL="90488">
                        <a:lnSpc>
                          <a:spcPct val="90000"/>
                        </a:lnSpc>
                        <a:spcBef>
                          <a:spcPts val="75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marL="742950" indent="-285750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marL="1143000" indent="-228600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3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marL="1600200" indent="-228600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1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marL="2057400" indent="-228600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1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1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1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1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1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90488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s-ES" altLang="es-ES" sz="800" u="none" strike="noStrike" cap="none" normalizeH="0" baseline="0">
                          <a:ln>
                            <a:noFill/>
                          </a:ln>
                          <a:effectLst/>
                          <a:latin typeface="+mn-lt"/>
                        </a:rPr>
                        <a:t>1.3.5.c) Diseñar  indicadores y cuadro de mando de  </a:t>
                      </a:r>
                    </a:p>
                    <a:p>
                      <a:pPr marL="90488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s-ES" altLang="es-ES" sz="800" u="none" strike="noStrike" cap="none" normalizeH="0" baseline="0">
                          <a:ln>
                            <a:noFill/>
                          </a:ln>
                          <a:effectLst/>
                          <a:latin typeface="+mn-lt"/>
                        </a:rPr>
                        <a:t>GR y realizar medición y evaluación.</a:t>
                      </a:r>
                      <a:endParaRPr kumimoji="0" lang="es-ES" altLang="es-ES" sz="800" b="0" i="0" u="none" strike="noStrike" cap="none" normalizeH="0" baseline="0">
                        <a:ln>
                          <a:noFill/>
                        </a:ln>
                        <a:solidFill>
                          <a:srgbClr val="212B6C"/>
                        </a:solidFill>
                        <a:effectLst/>
                        <a:latin typeface="+mn-lt"/>
                        <a:ea typeface="ＭＳ Ｐゴシック" panose="020B0600070205080204" pitchFamily="34" charset="-128"/>
                        <a:cs typeface="Arial" panose="020B0604020202020204" pitchFamily="34" charset="0"/>
                      </a:endParaRPr>
                    </a:p>
                  </a:txBody>
                  <a:tcPr marL="3180" marR="36000" marT="2936" marB="0" anchor="ctr" horzOverflow="overflow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90488">
                        <a:lnSpc>
                          <a:spcPct val="90000"/>
                        </a:lnSpc>
                        <a:spcBef>
                          <a:spcPts val="75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marL="742950" indent="-285750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marL="1143000" indent="-228600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3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marL="1600200" indent="-228600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1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marL="2057400" indent="-228600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1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1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1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1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1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90488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s-ES" altLang="es-ES" sz="800" u="none" strike="noStrike" cap="none" normalizeH="0" baseline="0">
                          <a:ln>
                            <a:noFill/>
                          </a:ln>
                          <a:effectLst/>
                          <a:latin typeface="+mn-lt"/>
                        </a:rPr>
                        <a:t>T4-2016</a:t>
                      </a:r>
                      <a:endParaRPr kumimoji="0" lang="es-ES" altLang="es-ES" sz="800" b="1" i="0" u="none" strike="noStrike" cap="none" normalizeH="0" baseline="0">
                        <a:ln>
                          <a:noFill/>
                        </a:ln>
                        <a:solidFill>
                          <a:srgbClr val="0FA8DC"/>
                        </a:solidFill>
                        <a:effectLst/>
                        <a:latin typeface="+mn-lt"/>
                        <a:ea typeface="ＭＳ Ｐゴシック" panose="020B0600070205080204" pitchFamily="34" charset="-128"/>
                      </a:endParaRPr>
                    </a:p>
                  </a:txBody>
                  <a:tcPr marL="3180" marR="3180" marT="2936" marB="0" anchor="ctr" horzOverflow="overflow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90488">
                        <a:lnSpc>
                          <a:spcPct val="90000"/>
                        </a:lnSpc>
                        <a:spcBef>
                          <a:spcPts val="75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marL="742950" indent="-285750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marL="1143000" indent="-228600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3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marL="1600200" indent="-228600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1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marL="2057400" indent="-228600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1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1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1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1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1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90488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s-ES" altLang="es-ES" sz="800" u="none" strike="noStrike" cap="none" normalizeH="0" baseline="0">
                          <a:ln>
                            <a:noFill/>
                          </a:ln>
                          <a:effectLst/>
                          <a:latin typeface="+mn-lt"/>
                        </a:rPr>
                        <a:t>Cuadro de mando mensual</a:t>
                      </a:r>
                      <a:endParaRPr kumimoji="0" lang="es-ES" altLang="es-ES" sz="800" b="0" i="0" u="none" strike="noStrike" cap="none" normalizeH="0" baseline="0">
                        <a:ln>
                          <a:noFill/>
                        </a:ln>
                        <a:solidFill>
                          <a:srgbClr val="212B6C"/>
                        </a:solidFill>
                        <a:effectLst/>
                        <a:latin typeface="+mn-lt"/>
                        <a:ea typeface="ＭＳ Ｐゴシック" panose="020B0600070205080204" pitchFamily="34" charset="-128"/>
                        <a:cs typeface="Arial" panose="020B0604020202020204" pitchFamily="34" charset="0"/>
                      </a:endParaRPr>
                    </a:p>
                  </a:txBody>
                  <a:tcPr marL="3180" marR="3180" marT="2936" marB="0" anchor="ctr" horzOverflow="overflow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512954">
                <a:tc vMerge="1">
                  <a:txBody>
                    <a:bodyPr/>
                    <a:lstStyle/>
                    <a:p>
                      <a:endParaRPr lang="es-ES"/>
                    </a:p>
                  </a:txBody>
                  <a:tcPr/>
                </a:tc>
                <a:tc rowSpan="2">
                  <a:txBody>
                    <a:bodyPr/>
                    <a:lstStyle>
                      <a:lvl1pPr marL="90488">
                        <a:lnSpc>
                          <a:spcPct val="90000"/>
                        </a:lnSpc>
                        <a:spcBef>
                          <a:spcPts val="75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marL="742950" indent="-285750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marL="1143000" indent="-228600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3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marL="1600200" indent="-228600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1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marL="2057400" indent="-228600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1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1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1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1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1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90488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s-ES" altLang="es-ES" sz="800" u="none" strike="noStrike" cap="none" normalizeH="0" baseline="0">
                        <a:ln>
                          <a:noFill/>
                        </a:ln>
                        <a:effectLst/>
                        <a:latin typeface="+mn-lt"/>
                      </a:endParaRPr>
                    </a:p>
                    <a:p>
                      <a:pPr marL="90488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s-ES" altLang="es-ES" sz="800" u="none" strike="noStrike" cap="none" normalizeH="0" baseline="0">
                          <a:ln>
                            <a:noFill/>
                          </a:ln>
                          <a:effectLst/>
                          <a:latin typeface="+mn-lt"/>
                        </a:rPr>
                        <a:t>1.3.6.  Establecer los niveles de seguridad en el uso de la HCE para asegurar la confidencialidad y disponibilidad de la información clínica electrónica.</a:t>
                      </a:r>
                    </a:p>
                    <a:p>
                      <a:pPr marL="90488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s-ES" altLang="es-ES" sz="800" u="none" strike="noStrike" cap="none" normalizeH="0" baseline="0">
                        <a:ln>
                          <a:noFill/>
                        </a:ln>
                        <a:effectLst/>
                        <a:latin typeface="+mn-lt"/>
                      </a:endParaRPr>
                    </a:p>
                    <a:p>
                      <a:pPr marL="90488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s-ES" altLang="es-ES" sz="800" u="none" strike="noStrike" cap="none" normalizeH="0" baseline="0">
                          <a:ln>
                            <a:noFill/>
                          </a:ln>
                          <a:effectLst/>
                          <a:latin typeface="+mn-lt"/>
                        </a:rPr>
                        <a:t>Responsable:</a:t>
                      </a:r>
                    </a:p>
                    <a:p>
                      <a:pPr marL="90488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s-ES" altLang="es-ES" sz="800" u="none" strike="noStrike" cap="none" normalizeH="0" baseline="0">
                          <a:ln>
                            <a:noFill/>
                          </a:ln>
                          <a:effectLst/>
                          <a:latin typeface="+mn-lt"/>
                        </a:rPr>
                        <a:t>Director de Planificación</a:t>
                      </a:r>
                    </a:p>
                    <a:p>
                      <a:pPr marL="90488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s-ES" altLang="es-ES" sz="800" u="none" strike="noStrike" cap="none" normalizeH="0" baseline="0">
                          <a:ln>
                            <a:noFill/>
                          </a:ln>
                          <a:effectLst/>
                          <a:latin typeface="+mn-lt"/>
                        </a:rPr>
                        <a:t>Comisión de Historias Clínicas</a:t>
                      </a:r>
                    </a:p>
                    <a:p>
                      <a:pPr marL="90488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s-ES" altLang="es-ES" sz="800" b="0" i="0" u="none" strike="noStrike" cap="none" normalizeH="0" baseline="0">
                        <a:ln>
                          <a:noFill/>
                        </a:ln>
                        <a:solidFill>
                          <a:srgbClr val="212B6C"/>
                        </a:solidFill>
                        <a:effectLst/>
                        <a:latin typeface="+mn-lt"/>
                        <a:ea typeface="ＭＳ Ｐゴシック" panose="020B0600070205080204" pitchFamily="34" charset="-128"/>
                        <a:cs typeface="Arial" panose="020B0604020202020204" pitchFamily="34" charset="0"/>
                      </a:endParaRPr>
                    </a:p>
                  </a:txBody>
                  <a:tcPr marL="3180" marR="108000" marT="2936" marB="0" anchor="ctr" horzOverflow="overflow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90488">
                        <a:lnSpc>
                          <a:spcPct val="90000"/>
                        </a:lnSpc>
                        <a:spcBef>
                          <a:spcPts val="75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marL="742950" indent="-285750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marL="1143000" indent="-228600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3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marL="1600200" indent="-228600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1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marL="2057400" indent="-228600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1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1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1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1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1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90488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s-ES" altLang="es-ES" sz="800" u="none" strike="noStrike" cap="none" normalizeH="0" baseline="0">
                          <a:ln>
                            <a:noFill/>
                          </a:ln>
                          <a:effectLst/>
                          <a:latin typeface="+mn-lt"/>
                        </a:rPr>
                        <a:t>1.3.6.a) Mejora de la disponibilidad de información clínica</a:t>
                      </a:r>
                      <a:endParaRPr kumimoji="0" lang="es-ES" altLang="es-ES" sz="800" b="0" i="0" u="none" strike="noStrike" cap="none" normalizeH="0" baseline="0">
                        <a:ln>
                          <a:noFill/>
                        </a:ln>
                        <a:solidFill>
                          <a:srgbClr val="212B6C"/>
                        </a:solidFill>
                        <a:effectLst/>
                        <a:latin typeface="+mn-lt"/>
                        <a:ea typeface="ＭＳ Ｐゴシック" panose="020B0600070205080204" pitchFamily="34" charset="-128"/>
                        <a:cs typeface="Arial" panose="020B0604020202020204" pitchFamily="34" charset="0"/>
                      </a:endParaRPr>
                    </a:p>
                  </a:txBody>
                  <a:tcPr marL="3180" marR="36000" marT="2936" marB="0" anchor="ctr" horzOverflow="overflow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90488">
                        <a:lnSpc>
                          <a:spcPct val="90000"/>
                        </a:lnSpc>
                        <a:spcBef>
                          <a:spcPts val="75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marL="742950" indent="-285750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marL="1143000" indent="-228600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3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marL="1600200" indent="-228600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1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marL="2057400" indent="-228600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1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1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1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1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1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90488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s-ES" altLang="es-ES" sz="800" u="none" strike="noStrike" cap="none" normalizeH="0" baseline="0">
                          <a:ln>
                            <a:noFill/>
                          </a:ln>
                          <a:effectLst/>
                          <a:latin typeface="+mn-lt"/>
                        </a:rPr>
                        <a:t>T2-2016</a:t>
                      </a:r>
                      <a:endParaRPr kumimoji="0" lang="es-ES" altLang="es-ES" sz="800" b="1" i="0" u="none" strike="noStrike" cap="none" normalizeH="0" baseline="0">
                        <a:ln>
                          <a:noFill/>
                        </a:ln>
                        <a:solidFill>
                          <a:srgbClr val="0FA8DC"/>
                        </a:solidFill>
                        <a:effectLst/>
                        <a:latin typeface="+mn-lt"/>
                        <a:ea typeface="ＭＳ Ｐゴシック" panose="020B0600070205080204" pitchFamily="34" charset="-128"/>
                      </a:endParaRPr>
                    </a:p>
                  </a:txBody>
                  <a:tcPr marL="3180" marR="3180" marT="2936" marB="0" anchor="ctr" horzOverflow="overflow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 rowSpan="2">
                  <a:txBody>
                    <a:bodyPr/>
                    <a:lstStyle>
                      <a:lvl1pPr marL="90488">
                        <a:lnSpc>
                          <a:spcPct val="90000"/>
                        </a:lnSpc>
                        <a:spcBef>
                          <a:spcPts val="75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marL="742950" indent="-285750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marL="1143000" indent="-228600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3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marL="1600200" indent="-228600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1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marL="2057400" indent="-228600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1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1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1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1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1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90488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s-ES" altLang="es-ES" sz="800" u="none" strike="noStrike" cap="none" normalizeH="0" baseline="0">
                          <a:ln>
                            <a:noFill/>
                          </a:ln>
                          <a:effectLst/>
                          <a:latin typeface="+mn-lt"/>
                        </a:rPr>
                        <a:t>Seguimiento de incidencias en el uso de la información clínica: auditorías.</a:t>
                      </a:r>
                    </a:p>
                  </a:txBody>
                  <a:tcPr marL="3180" marR="3180" marT="2936" marB="0" anchor="ctr" horzOverflow="overflow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1197605">
                <a:tc vMerge="1">
                  <a:txBody>
                    <a:bodyPr/>
                    <a:lstStyle/>
                    <a:p>
                      <a:endParaRPr lang="es-E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s-ES"/>
                    </a:p>
                  </a:txBody>
                  <a:tcPr/>
                </a:tc>
                <a:tc>
                  <a:txBody>
                    <a:bodyPr/>
                    <a:lstStyle>
                      <a:lvl1pPr marL="90488">
                        <a:lnSpc>
                          <a:spcPct val="90000"/>
                        </a:lnSpc>
                        <a:spcBef>
                          <a:spcPts val="75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marL="742950" indent="-285750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marL="1143000" indent="-228600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3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marL="1600200" indent="-228600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1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marL="2057400" indent="-228600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1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1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1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1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1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90488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s-ES" altLang="es-ES" sz="800" u="none" strike="noStrike" cap="none" normalizeH="0" baseline="0">
                          <a:ln>
                            <a:noFill/>
                          </a:ln>
                          <a:effectLst/>
                          <a:latin typeface="+mn-lt"/>
                        </a:rPr>
                        <a:t>1.3.6.b) Definir e implantar políticas de acceso a la información clínica.</a:t>
                      </a:r>
                      <a:endParaRPr kumimoji="0" lang="es-ES" altLang="es-ES" sz="800" b="0" i="0" u="none" strike="noStrike" cap="none" normalizeH="0" baseline="0">
                        <a:ln>
                          <a:noFill/>
                        </a:ln>
                        <a:solidFill>
                          <a:srgbClr val="212B6C"/>
                        </a:solidFill>
                        <a:effectLst/>
                        <a:latin typeface="+mn-lt"/>
                        <a:ea typeface="ＭＳ Ｐゴシック" panose="020B0600070205080204" pitchFamily="34" charset="-128"/>
                        <a:cs typeface="Arial" panose="020B0604020202020204" pitchFamily="34" charset="0"/>
                      </a:endParaRPr>
                    </a:p>
                  </a:txBody>
                  <a:tcPr marL="3180" marR="36000" marT="2936" marB="0" anchor="ctr" horzOverflow="overflow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87313">
                        <a:lnSpc>
                          <a:spcPct val="90000"/>
                        </a:lnSpc>
                        <a:spcBef>
                          <a:spcPts val="75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marL="742950" indent="-285750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marL="1143000" indent="-228600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3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marL="1600200" indent="-228600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1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marL="2057400" indent="-228600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1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1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1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1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1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87313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s-ES" altLang="es-ES" sz="800" u="none" strike="noStrike" cap="none" normalizeH="0" baseline="0">
                          <a:ln>
                            <a:noFill/>
                          </a:ln>
                          <a:effectLst/>
                          <a:latin typeface="+mn-lt"/>
                        </a:rPr>
                        <a:t>T1-2016</a:t>
                      </a:r>
                      <a:endParaRPr kumimoji="0" lang="es-ES" altLang="es-ES" sz="800" b="1" i="0" u="none" strike="noStrike" cap="none" normalizeH="0" baseline="0">
                        <a:ln>
                          <a:noFill/>
                        </a:ln>
                        <a:solidFill>
                          <a:srgbClr val="0FA8DC"/>
                        </a:solidFill>
                        <a:effectLst/>
                        <a:latin typeface="+mn-lt"/>
                        <a:ea typeface="ＭＳ Ｐゴシック" panose="020B0600070205080204" pitchFamily="34" charset="-128"/>
                      </a:endParaRPr>
                    </a:p>
                  </a:txBody>
                  <a:tcPr marL="3180" marR="3180" marT="2936" marB="0" anchor="ctr" horzOverflow="overflow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s-E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</a:tbl>
          </a:graphicData>
        </a:graphic>
      </p:graphicFrame>
      <p:sp>
        <p:nvSpPr>
          <p:cNvPr id="9" name="Elipse 8"/>
          <p:cNvSpPr/>
          <p:nvPr/>
        </p:nvSpPr>
        <p:spPr>
          <a:xfrm rot="1198034">
            <a:off x="7841278" y="1286813"/>
            <a:ext cx="1816968" cy="1225296"/>
          </a:xfrm>
          <a:prstGeom prst="ellipse">
            <a:avLst/>
          </a:prstGeom>
          <a:solidFill>
            <a:srgbClr val="B81B49"/>
          </a:solidFill>
          <a:ln w="28575">
            <a:solidFill>
              <a:srgbClr val="B81B4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_tradnl"/>
          </a:p>
        </p:txBody>
      </p:sp>
      <p:sp>
        <p:nvSpPr>
          <p:cNvPr id="10" name="CuadroTexto 75"/>
          <p:cNvSpPr txBox="1">
            <a:spLocks noChangeArrowheads="1"/>
          </p:cNvSpPr>
          <p:nvPr/>
        </p:nvSpPr>
        <p:spPr bwMode="auto">
          <a:xfrm rot="1198034">
            <a:off x="7998807" y="1544737"/>
            <a:ext cx="1527363" cy="762105"/>
          </a:xfrm>
          <a:prstGeom prst="rect">
            <a:avLst/>
          </a:prstGeom>
          <a:noFill/>
          <a:ln>
            <a:noFill/>
          </a:ln>
        </p:spPr>
        <p:txBody>
          <a:bodyPr anchor="ctr"/>
          <a:lstStyle>
            <a:lvl1pPr algn="r">
              <a:defRPr sz="2800">
                <a:solidFill>
                  <a:srgbClr val="000099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1pPr>
            <a:lvl2pPr marL="742950" indent="-285750" algn="r">
              <a:defRPr sz="2800">
                <a:solidFill>
                  <a:srgbClr val="000099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2pPr>
            <a:lvl3pPr marL="1143000" indent="-228600" algn="r">
              <a:defRPr sz="2800">
                <a:solidFill>
                  <a:srgbClr val="000099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3pPr>
            <a:lvl4pPr marL="1600200" indent="-228600" algn="r">
              <a:defRPr sz="2800">
                <a:solidFill>
                  <a:srgbClr val="000099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4pPr>
            <a:lvl5pPr marL="2057400" indent="-228600" algn="r">
              <a:defRPr sz="2800">
                <a:solidFill>
                  <a:srgbClr val="000099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5pPr>
            <a:lvl6pPr marL="2514600" indent="-228600" algn="r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99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6pPr>
            <a:lvl7pPr marL="2971800" indent="-228600" algn="r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99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7pPr>
            <a:lvl8pPr marL="3429000" indent="-228600" algn="r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99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8pPr>
            <a:lvl9pPr marL="3886200" indent="-228600" algn="r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99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s-ES" sz="1800" b="1">
                <a:solidFill>
                  <a:schemeClr val="bg1"/>
                </a:solidFill>
                <a:latin typeface="+mn-lt"/>
              </a:rPr>
              <a:t>94 Planes de Acción</a:t>
            </a:r>
          </a:p>
        </p:txBody>
      </p:sp>
      <p:sp>
        <p:nvSpPr>
          <p:cNvPr id="11" name="Rectangle 2"/>
          <p:cNvSpPr txBox="1">
            <a:spLocks/>
          </p:cNvSpPr>
          <p:nvPr/>
        </p:nvSpPr>
        <p:spPr>
          <a:xfrm>
            <a:off x="295135" y="257605"/>
            <a:ext cx="6500922" cy="294330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ES" altLang="es-ES" sz="2200" b="1">
                <a:solidFill>
                  <a:srgbClr val="0FA8DC"/>
                </a:solidFill>
                <a:latin typeface="+mn-lt"/>
              </a:rPr>
              <a:t>Nuestro 7+2 : </a:t>
            </a:r>
            <a:r>
              <a:rPr lang="es-ES" altLang="es-ES" sz="2200">
                <a:solidFill>
                  <a:srgbClr val="0FA8DC"/>
                </a:solidFill>
                <a:latin typeface="+mn-lt"/>
              </a:rPr>
              <a:t>Mapa estratégico H12O 2015-2019</a:t>
            </a:r>
          </a:p>
        </p:txBody>
      </p:sp>
    </p:spTree>
    <p:extLst>
      <p:ext uri="{BB962C8B-B14F-4D97-AF65-F5344CB8AC3E}">
        <p14:creationId xmlns:p14="http://schemas.microsoft.com/office/powerpoint/2010/main" val="34140758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 txBox="1">
            <a:spLocks/>
          </p:cNvSpPr>
          <p:nvPr/>
        </p:nvSpPr>
        <p:spPr>
          <a:xfrm>
            <a:off x="295135" y="280021"/>
            <a:ext cx="6756454" cy="271914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ES" altLang="es-ES" sz="2400" b="1">
                <a:solidFill>
                  <a:srgbClr val="0FA8DC"/>
                </a:solidFill>
                <a:latin typeface="+mn-lt"/>
              </a:rPr>
              <a:t>Diseño detallado del Plan de Acción</a:t>
            </a:r>
          </a:p>
        </p:txBody>
      </p:sp>
      <p:grpSp>
        <p:nvGrpSpPr>
          <p:cNvPr id="31" name="Grupo 30"/>
          <p:cNvGrpSpPr/>
          <p:nvPr/>
        </p:nvGrpSpPr>
        <p:grpSpPr>
          <a:xfrm>
            <a:off x="297711" y="1094235"/>
            <a:ext cx="9255945" cy="4710645"/>
            <a:chOff x="297711" y="1094235"/>
            <a:chExt cx="9255945" cy="4710645"/>
          </a:xfrm>
        </p:grpSpPr>
        <p:pic>
          <p:nvPicPr>
            <p:cNvPr id="3" name="Imagen 2"/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rot="1120240">
              <a:off x="5996498" y="1115209"/>
              <a:ext cx="1997414" cy="1739288"/>
            </a:xfrm>
            <a:prstGeom prst="rect">
              <a:avLst/>
            </a:prstGeom>
          </p:spPr>
        </p:pic>
        <p:pic>
          <p:nvPicPr>
            <p:cNvPr id="4" name="Imagen 3"/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rot="5400000">
              <a:off x="7685305" y="2130517"/>
              <a:ext cx="1997414" cy="1739288"/>
            </a:xfrm>
            <a:prstGeom prst="rect">
              <a:avLst/>
            </a:prstGeom>
          </p:spPr>
        </p:pic>
        <p:pic>
          <p:nvPicPr>
            <p:cNvPr id="5" name="Imagen 4"/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rot="9900000">
              <a:off x="7005008" y="3948925"/>
              <a:ext cx="1997414" cy="1739288"/>
            </a:xfrm>
            <a:prstGeom prst="rect">
              <a:avLst/>
            </a:prstGeom>
          </p:spPr>
        </p:pic>
        <p:pic>
          <p:nvPicPr>
            <p:cNvPr id="6" name="Imagen 5"/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rot="13500000">
              <a:off x="5045566" y="3936529"/>
              <a:ext cx="1997414" cy="1739288"/>
            </a:xfrm>
            <a:prstGeom prst="rect">
              <a:avLst/>
            </a:prstGeom>
          </p:spPr>
        </p:pic>
        <p:pic>
          <p:nvPicPr>
            <p:cNvPr id="7" name="Imagen 6"/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rot="18000000">
              <a:off x="4470124" y="2165558"/>
              <a:ext cx="1997414" cy="1739288"/>
            </a:xfrm>
            <a:prstGeom prst="rect">
              <a:avLst/>
            </a:prstGeom>
          </p:spPr>
        </p:pic>
        <p:sp>
          <p:nvSpPr>
            <p:cNvPr id="8" name="Rectángulo 7"/>
            <p:cNvSpPr/>
            <p:nvPr/>
          </p:nvSpPr>
          <p:spPr>
            <a:xfrm>
              <a:off x="6046573" y="1622854"/>
              <a:ext cx="1647568" cy="617837"/>
            </a:xfrm>
            <a:prstGeom prst="rect">
              <a:avLst/>
            </a:prstGeom>
            <a:no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>
              <a:lvl1pPr eaLnBrk="0" hangingPunct="0"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1pPr>
              <a:lvl2pPr marL="742950" indent="-285750" eaLnBrk="0" hangingPunct="0"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2pPr>
              <a:lvl3pPr marL="1143000" indent="-228600" eaLnBrk="0" hangingPunct="0"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3pPr>
              <a:lvl4pPr marL="1600200" indent="-228600" eaLnBrk="0" hangingPunct="0"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4pPr>
              <a:lvl5pPr marL="2057400" indent="-228600" eaLnBrk="0" hangingPunct="0"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5pPr>
              <a:lvl6pPr marL="25146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6pPr>
              <a:lvl7pPr marL="29718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7pPr>
              <a:lvl8pPr marL="34290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8pPr>
              <a:lvl9pPr marL="38862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9pPr>
            </a:lstStyle>
            <a:p>
              <a:pPr algn="ctr" eaLnBrk="1" hangingPunct="1"/>
              <a:r>
                <a:rPr lang="en-GB" altLang="es-ES" b="1" err="1">
                  <a:solidFill>
                    <a:srgbClr val="0FA8DC"/>
                  </a:solidFill>
                  <a:latin typeface="+mn-lt"/>
                </a:rPr>
                <a:t>Identificar</a:t>
              </a:r>
              <a:r>
                <a:rPr lang="en-GB" altLang="es-ES" b="1">
                  <a:solidFill>
                    <a:srgbClr val="0FA8DC"/>
                  </a:solidFill>
                  <a:latin typeface="+mn-lt"/>
                </a:rPr>
                <a:t> </a:t>
              </a:r>
            </a:p>
            <a:p>
              <a:pPr algn="ctr" eaLnBrk="1" hangingPunct="1"/>
              <a:r>
                <a:rPr lang="en-GB" altLang="es-ES">
                  <a:solidFill>
                    <a:srgbClr val="0FA8DC"/>
                  </a:solidFill>
                  <a:latin typeface="+mn-lt"/>
                </a:rPr>
                <a:t> </a:t>
              </a:r>
            </a:p>
          </p:txBody>
        </p:sp>
        <p:sp>
          <p:nvSpPr>
            <p:cNvPr id="9" name="Rectángulo 8"/>
            <p:cNvSpPr/>
            <p:nvPr/>
          </p:nvSpPr>
          <p:spPr>
            <a:xfrm>
              <a:off x="8134868" y="2541372"/>
              <a:ext cx="1083273" cy="617837"/>
            </a:xfrm>
            <a:prstGeom prst="rect">
              <a:avLst/>
            </a:prstGeom>
            <a:no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>
              <a:lvl1pPr eaLnBrk="0" hangingPunct="0"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1pPr>
              <a:lvl2pPr marL="742950" indent="-285750" eaLnBrk="0" hangingPunct="0"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2pPr>
              <a:lvl3pPr marL="1143000" indent="-228600" eaLnBrk="0" hangingPunct="0"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3pPr>
              <a:lvl4pPr marL="1600200" indent="-228600" eaLnBrk="0" hangingPunct="0"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4pPr>
              <a:lvl5pPr marL="2057400" indent="-228600" eaLnBrk="0" hangingPunct="0"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5pPr>
              <a:lvl6pPr marL="25146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6pPr>
              <a:lvl7pPr marL="29718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7pPr>
              <a:lvl8pPr marL="34290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8pPr>
              <a:lvl9pPr marL="38862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9pPr>
            </a:lstStyle>
            <a:p>
              <a:pPr algn="ctr" eaLnBrk="1" hangingPunct="1"/>
              <a:r>
                <a:rPr lang="en-GB" altLang="es-ES" b="1" err="1">
                  <a:solidFill>
                    <a:srgbClr val="0FA8DC"/>
                  </a:solidFill>
                  <a:latin typeface="+mn-lt"/>
                </a:rPr>
                <a:t>Analizar</a:t>
              </a:r>
              <a:endParaRPr lang="en-GB" altLang="es-ES" b="1">
                <a:solidFill>
                  <a:srgbClr val="0FA8DC"/>
                </a:solidFill>
                <a:latin typeface="+mn-lt"/>
              </a:endParaRPr>
            </a:p>
          </p:txBody>
        </p:sp>
        <p:sp>
          <p:nvSpPr>
            <p:cNvPr id="10" name="Rectángulo 9"/>
            <p:cNvSpPr/>
            <p:nvPr/>
          </p:nvSpPr>
          <p:spPr>
            <a:xfrm>
              <a:off x="5296931" y="4571999"/>
              <a:ext cx="1680518" cy="617837"/>
            </a:xfrm>
            <a:prstGeom prst="rect">
              <a:avLst/>
            </a:prstGeom>
            <a:no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>
              <a:lvl1pPr eaLnBrk="0" hangingPunct="0"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1pPr>
              <a:lvl2pPr marL="742950" indent="-285750" eaLnBrk="0" hangingPunct="0"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2pPr>
              <a:lvl3pPr marL="1143000" indent="-228600" eaLnBrk="0" hangingPunct="0"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3pPr>
              <a:lvl4pPr marL="1600200" indent="-228600" eaLnBrk="0" hangingPunct="0"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4pPr>
              <a:lvl5pPr marL="2057400" indent="-228600" eaLnBrk="0" hangingPunct="0"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5pPr>
              <a:lvl6pPr marL="25146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6pPr>
              <a:lvl7pPr marL="29718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7pPr>
              <a:lvl8pPr marL="34290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8pPr>
              <a:lvl9pPr marL="38862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9pPr>
            </a:lstStyle>
            <a:p>
              <a:pPr algn="ctr" eaLnBrk="1" hangingPunct="1"/>
              <a:r>
                <a:rPr lang="en-GB" altLang="es-ES" b="1" err="1">
                  <a:solidFill>
                    <a:srgbClr val="0FA8DC"/>
                  </a:solidFill>
                  <a:latin typeface="+mn-lt"/>
                </a:rPr>
                <a:t>Hacer</a:t>
              </a:r>
              <a:endParaRPr lang="en-GB" altLang="es-ES" b="1">
                <a:solidFill>
                  <a:srgbClr val="0FA8DC"/>
                </a:solidFill>
                <a:latin typeface="+mn-lt"/>
              </a:endParaRPr>
            </a:p>
          </p:txBody>
        </p:sp>
        <p:sp>
          <p:nvSpPr>
            <p:cNvPr id="11" name="Rectángulo 10"/>
            <p:cNvSpPr/>
            <p:nvPr/>
          </p:nvSpPr>
          <p:spPr>
            <a:xfrm>
              <a:off x="7344037" y="4444313"/>
              <a:ext cx="1552830" cy="617837"/>
            </a:xfrm>
            <a:prstGeom prst="rect">
              <a:avLst/>
            </a:prstGeom>
            <a:no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>
              <a:lvl1pPr eaLnBrk="0" hangingPunct="0"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1pPr>
              <a:lvl2pPr marL="742950" indent="-285750" eaLnBrk="0" hangingPunct="0"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2pPr>
              <a:lvl3pPr marL="1143000" indent="-228600" eaLnBrk="0" hangingPunct="0"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3pPr>
              <a:lvl4pPr marL="1600200" indent="-228600" eaLnBrk="0" hangingPunct="0"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4pPr>
              <a:lvl5pPr marL="2057400" indent="-228600" eaLnBrk="0" hangingPunct="0"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5pPr>
              <a:lvl6pPr marL="25146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6pPr>
              <a:lvl7pPr marL="29718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7pPr>
              <a:lvl8pPr marL="34290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8pPr>
              <a:lvl9pPr marL="38862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9pPr>
            </a:lstStyle>
            <a:p>
              <a:pPr algn="ctr" eaLnBrk="1" hangingPunct="1"/>
              <a:r>
                <a:rPr lang="en-GB" altLang="es-ES" b="1" err="1">
                  <a:solidFill>
                    <a:srgbClr val="0FA8DC"/>
                  </a:solidFill>
                  <a:latin typeface="+mn-lt"/>
                </a:rPr>
                <a:t>Planificar</a:t>
              </a:r>
              <a:endParaRPr lang="en-GB" altLang="es-ES" b="1">
                <a:solidFill>
                  <a:srgbClr val="0FA8DC"/>
                </a:solidFill>
                <a:latin typeface="+mn-lt"/>
              </a:endParaRPr>
            </a:p>
          </p:txBody>
        </p:sp>
        <p:sp>
          <p:nvSpPr>
            <p:cNvPr id="12" name="Rectángulo 11"/>
            <p:cNvSpPr/>
            <p:nvPr/>
          </p:nvSpPr>
          <p:spPr>
            <a:xfrm>
              <a:off x="4749115" y="2788507"/>
              <a:ext cx="1272745" cy="617837"/>
            </a:xfrm>
            <a:prstGeom prst="rect">
              <a:avLst/>
            </a:prstGeom>
            <a:no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>
              <a:lvl1pPr eaLnBrk="0" hangingPunct="0"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1pPr>
              <a:lvl2pPr marL="742950" indent="-285750" eaLnBrk="0" hangingPunct="0"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2pPr>
              <a:lvl3pPr marL="1143000" indent="-228600" eaLnBrk="0" hangingPunct="0"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3pPr>
              <a:lvl4pPr marL="1600200" indent="-228600" eaLnBrk="0" hangingPunct="0"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4pPr>
              <a:lvl5pPr marL="2057400" indent="-228600" eaLnBrk="0" hangingPunct="0"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5pPr>
              <a:lvl6pPr marL="25146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6pPr>
              <a:lvl7pPr marL="29718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7pPr>
              <a:lvl8pPr marL="34290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8pPr>
              <a:lvl9pPr marL="38862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9pPr>
            </a:lstStyle>
            <a:p>
              <a:pPr algn="ctr" eaLnBrk="1" hangingPunct="1"/>
              <a:r>
                <a:rPr lang="en-GB" altLang="es-ES" b="1" err="1">
                  <a:solidFill>
                    <a:srgbClr val="0FA8DC"/>
                  </a:solidFill>
                  <a:latin typeface="+mn-lt"/>
                </a:rPr>
                <a:t>Revisar</a:t>
              </a:r>
              <a:endParaRPr lang="en-GB" altLang="es-ES" b="1">
                <a:solidFill>
                  <a:srgbClr val="0FA8DC"/>
                </a:solidFill>
                <a:latin typeface="+mn-lt"/>
              </a:endParaRPr>
            </a:p>
          </p:txBody>
        </p:sp>
        <p:sp>
          <p:nvSpPr>
            <p:cNvPr id="13" name="Elipse 12"/>
            <p:cNvSpPr/>
            <p:nvPr/>
          </p:nvSpPr>
          <p:spPr>
            <a:xfrm>
              <a:off x="8905122" y="1979802"/>
              <a:ext cx="397334" cy="384457"/>
            </a:xfrm>
            <a:prstGeom prst="ellipse">
              <a:avLst/>
            </a:prstGeom>
            <a:solidFill>
              <a:schemeClr val="bg1"/>
            </a:solidFill>
            <a:ln w="28575">
              <a:solidFill>
                <a:srgbClr val="B81B4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/>
            </a:p>
          </p:txBody>
        </p:sp>
        <p:sp>
          <p:nvSpPr>
            <p:cNvPr id="14" name="CuadroTexto 75"/>
            <p:cNvSpPr txBox="1">
              <a:spLocks noChangeArrowheads="1"/>
            </p:cNvSpPr>
            <p:nvPr/>
          </p:nvSpPr>
          <p:spPr bwMode="auto">
            <a:xfrm>
              <a:off x="8823645" y="2061984"/>
              <a:ext cx="578123" cy="190393"/>
            </a:xfrm>
            <a:prstGeom prst="rect">
              <a:avLst/>
            </a:prstGeom>
            <a:noFill/>
            <a:ln>
              <a:noFill/>
            </a:ln>
          </p:spPr>
          <p:txBody>
            <a:bodyPr anchor="ctr"/>
            <a:lstStyle>
              <a:lvl1pPr algn="r">
                <a:defRPr sz="2800"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1pPr>
              <a:lvl2pPr marL="742950" indent="-285750" algn="r">
                <a:defRPr sz="2800"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2pPr>
              <a:lvl3pPr marL="1143000" indent="-228600" algn="r">
                <a:defRPr sz="2800"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3pPr>
              <a:lvl4pPr marL="1600200" indent="-228600" algn="r">
                <a:defRPr sz="2800"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4pPr>
              <a:lvl5pPr marL="2057400" indent="-228600" algn="r">
                <a:defRPr sz="2800"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5pPr>
              <a:lvl6pPr marL="25146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6pPr>
              <a:lvl7pPr marL="29718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7pPr>
              <a:lvl8pPr marL="34290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8pPr>
              <a:lvl9pPr marL="38862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9pPr>
            </a:lstStyle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r>
                <a:rPr lang="es-ES" sz="1800">
                  <a:solidFill>
                    <a:srgbClr val="B81B49"/>
                  </a:solidFill>
                  <a:latin typeface="+mn-lt"/>
                </a:rPr>
                <a:t>2</a:t>
              </a:r>
            </a:p>
          </p:txBody>
        </p:sp>
        <p:sp>
          <p:nvSpPr>
            <p:cNvPr id="15" name="Elipse 14"/>
            <p:cNvSpPr/>
            <p:nvPr/>
          </p:nvSpPr>
          <p:spPr>
            <a:xfrm>
              <a:off x="6215468" y="1094235"/>
              <a:ext cx="397334" cy="384457"/>
            </a:xfrm>
            <a:prstGeom prst="ellipse">
              <a:avLst/>
            </a:prstGeom>
            <a:solidFill>
              <a:schemeClr val="bg1"/>
            </a:solidFill>
            <a:ln w="28575">
              <a:solidFill>
                <a:srgbClr val="B81B4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/>
            </a:p>
          </p:txBody>
        </p:sp>
        <p:sp>
          <p:nvSpPr>
            <p:cNvPr id="16" name="CuadroTexto 75"/>
            <p:cNvSpPr txBox="1">
              <a:spLocks noChangeArrowheads="1"/>
            </p:cNvSpPr>
            <p:nvPr/>
          </p:nvSpPr>
          <p:spPr bwMode="auto">
            <a:xfrm>
              <a:off x="6133991" y="1176417"/>
              <a:ext cx="578123" cy="190393"/>
            </a:xfrm>
            <a:prstGeom prst="rect">
              <a:avLst/>
            </a:prstGeom>
            <a:noFill/>
            <a:ln>
              <a:noFill/>
            </a:ln>
          </p:spPr>
          <p:txBody>
            <a:bodyPr anchor="ctr"/>
            <a:lstStyle>
              <a:lvl1pPr algn="r">
                <a:defRPr sz="2800"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1pPr>
              <a:lvl2pPr marL="742950" indent="-285750" algn="r">
                <a:defRPr sz="2800"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2pPr>
              <a:lvl3pPr marL="1143000" indent="-228600" algn="r">
                <a:defRPr sz="2800"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3pPr>
              <a:lvl4pPr marL="1600200" indent="-228600" algn="r">
                <a:defRPr sz="2800"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4pPr>
              <a:lvl5pPr marL="2057400" indent="-228600" algn="r">
                <a:defRPr sz="2800"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5pPr>
              <a:lvl6pPr marL="25146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6pPr>
              <a:lvl7pPr marL="29718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7pPr>
              <a:lvl8pPr marL="34290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8pPr>
              <a:lvl9pPr marL="38862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9pPr>
            </a:lstStyle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r>
                <a:rPr lang="es-ES" sz="1800">
                  <a:solidFill>
                    <a:srgbClr val="B81B49"/>
                  </a:solidFill>
                  <a:latin typeface="+mn-lt"/>
                </a:rPr>
                <a:t>1</a:t>
              </a:r>
            </a:p>
          </p:txBody>
        </p:sp>
        <p:sp>
          <p:nvSpPr>
            <p:cNvPr id="17" name="Elipse 16"/>
            <p:cNvSpPr/>
            <p:nvPr/>
          </p:nvSpPr>
          <p:spPr>
            <a:xfrm>
              <a:off x="7482173" y="3834963"/>
              <a:ext cx="397334" cy="384457"/>
            </a:xfrm>
            <a:prstGeom prst="ellipse">
              <a:avLst/>
            </a:prstGeom>
            <a:solidFill>
              <a:schemeClr val="bg1"/>
            </a:solidFill>
            <a:ln w="28575">
              <a:solidFill>
                <a:srgbClr val="B81B4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/>
            </a:p>
          </p:txBody>
        </p:sp>
        <p:sp>
          <p:nvSpPr>
            <p:cNvPr id="18" name="CuadroTexto 75"/>
            <p:cNvSpPr txBox="1">
              <a:spLocks noChangeArrowheads="1"/>
            </p:cNvSpPr>
            <p:nvPr/>
          </p:nvSpPr>
          <p:spPr bwMode="auto">
            <a:xfrm>
              <a:off x="7389590" y="3929197"/>
              <a:ext cx="578123" cy="190393"/>
            </a:xfrm>
            <a:prstGeom prst="rect">
              <a:avLst/>
            </a:prstGeom>
            <a:noFill/>
            <a:ln>
              <a:noFill/>
            </a:ln>
          </p:spPr>
          <p:txBody>
            <a:bodyPr anchor="ctr"/>
            <a:lstStyle>
              <a:lvl1pPr algn="r">
                <a:defRPr sz="2800"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1pPr>
              <a:lvl2pPr marL="742950" indent="-285750" algn="r">
                <a:defRPr sz="2800"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2pPr>
              <a:lvl3pPr marL="1143000" indent="-228600" algn="r">
                <a:defRPr sz="2800"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3pPr>
              <a:lvl4pPr marL="1600200" indent="-228600" algn="r">
                <a:defRPr sz="2800"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4pPr>
              <a:lvl5pPr marL="2057400" indent="-228600" algn="r">
                <a:defRPr sz="2800"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5pPr>
              <a:lvl6pPr marL="25146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6pPr>
              <a:lvl7pPr marL="29718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7pPr>
              <a:lvl8pPr marL="34290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8pPr>
              <a:lvl9pPr marL="38862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9pPr>
            </a:lstStyle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r>
                <a:rPr lang="es-ES" sz="1800">
                  <a:solidFill>
                    <a:srgbClr val="B81B49"/>
                  </a:solidFill>
                  <a:latin typeface="+mn-lt"/>
                </a:rPr>
                <a:t>3</a:t>
              </a:r>
            </a:p>
          </p:txBody>
        </p:sp>
        <p:sp>
          <p:nvSpPr>
            <p:cNvPr id="19" name="Elipse 18"/>
            <p:cNvSpPr/>
            <p:nvPr/>
          </p:nvSpPr>
          <p:spPr>
            <a:xfrm>
              <a:off x="6289609" y="3985716"/>
              <a:ext cx="397334" cy="384457"/>
            </a:xfrm>
            <a:prstGeom prst="ellipse">
              <a:avLst/>
            </a:prstGeom>
            <a:solidFill>
              <a:schemeClr val="bg1"/>
            </a:solidFill>
            <a:ln w="28575">
              <a:solidFill>
                <a:srgbClr val="B81B4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/>
            </a:p>
          </p:txBody>
        </p:sp>
        <p:sp>
          <p:nvSpPr>
            <p:cNvPr id="20" name="CuadroTexto 75"/>
            <p:cNvSpPr txBox="1">
              <a:spLocks noChangeArrowheads="1"/>
            </p:cNvSpPr>
            <p:nvPr/>
          </p:nvSpPr>
          <p:spPr bwMode="auto">
            <a:xfrm>
              <a:off x="6199894" y="4078531"/>
              <a:ext cx="578123" cy="190393"/>
            </a:xfrm>
            <a:prstGeom prst="rect">
              <a:avLst/>
            </a:prstGeom>
            <a:noFill/>
            <a:ln>
              <a:noFill/>
            </a:ln>
          </p:spPr>
          <p:txBody>
            <a:bodyPr anchor="ctr"/>
            <a:lstStyle>
              <a:lvl1pPr algn="r">
                <a:defRPr sz="2800"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1pPr>
              <a:lvl2pPr marL="742950" indent="-285750" algn="r">
                <a:defRPr sz="2800"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2pPr>
              <a:lvl3pPr marL="1143000" indent="-228600" algn="r">
                <a:defRPr sz="2800"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3pPr>
              <a:lvl4pPr marL="1600200" indent="-228600" algn="r">
                <a:defRPr sz="2800"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4pPr>
              <a:lvl5pPr marL="2057400" indent="-228600" algn="r">
                <a:defRPr sz="2800"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5pPr>
              <a:lvl6pPr marL="25146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6pPr>
              <a:lvl7pPr marL="29718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7pPr>
              <a:lvl8pPr marL="34290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8pPr>
              <a:lvl9pPr marL="38862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9pPr>
            </a:lstStyle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r>
                <a:rPr lang="es-ES" sz="1800">
                  <a:solidFill>
                    <a:srgbClr val="B81B49"/>
                  </a:solidFill>
                  <a:latin typeface="+mn-lt"/>
                </a:rPr>
                <a:t>4</a:t>
              </a:r>
            </a:p>
          </p:txBody>
        </p:sp>
        <p:sp>
          <p:nvSpPr>
            <p:cNvPr id="21" name="Elipse 20"/>
            <p:cNvSpPr/>
            <p:nvPr/>
          </p:nvSpPr>
          <p:spPr>
            <a:xfrm>
              <a:off x="4501999" y="2395813"/>
              <a:ext cx="397334" cy="384457"/>
            </a:xfrm>
            <a:prstGeom prst="ellipse">
              <a:avLst/>
            </a:prstGeom>
            <a:solidFill>
              <a:schemeClr val="bg1"/>
            </a:solidFill>
            <a:ln w="28575">
              <a:solidFill>
                <a:srgbClr val="B81B4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/>
            </a:p>
          </p:txBody>
        </p:sp>
        <p:sp>
          <p:nvSpPr>
            <p:cNvPr id="22" name="CuadroTexto 75"/>
            <p:cNvSpPr txBox="1">
              <a:spLocks noChangeArrowheads="1"/>
            </p:cNvSpPr>
            <p:nvPr/>
          </p:nvSpPr>
          <p:spPr bwMode="auto">
            <a:xfrm>
              <a:off x="4409889" y="2488628"/>
              <a:ext cx="578123" cy="190393"/>
            </a:xfrm>
            <a:prstGeom prst="rect">
              <a:avLst/>
            </a:prstGeom>
            <a:noFill/>
            <a:ln>
              <a:noFill/>
            </a:ln>
          </p:spPr>
          <p:txBody>
            <a:bodyPr anchor="ctr"/>
            <a:lstStyle>
              <a:lvl1pPr algn="r">
                <a:defRPr sz="2800"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1pPr>
              <a:lvl2pPr marL="742950" indent="-285750" algn="r">
                <a:defRPr sz="2800"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2pPr>
              <a:lvl3pPr marL="1143000" indent="-228600" algn="r">
                <a:defRPr sz="2800"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3pPr>
              <a:lvl4pPr marL="1600200" indent="-228600" algn="r">
                <a:defRPr sz="2800"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4pPr>
              <a:lvl5pPr marL="2057400" indent="-228600" algn="r">
                <a:defRPr sz="2800"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5pPr>
              <a:lvl6pPr marL="25146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6pPr>
              <a:lvl7pPr marL="29718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7pPr>
              <a:lvl8pPr marL="34290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8pPr>
              <a:lvl9pPr marL="38862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9pPr>
            </a:lstStyle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r>
                <a:rPr lang="es-ES" sz="1800">
                  <a:solidFill>
                    <a:srgbClr val="B81B49"/>
                  </a:solidFill>
                  <a:latin typeface="+mn-lt"/>
                </a:rPr>
                <a:t>5</a:t>
              </a:r>
            </a:p>
          </p:txBody>
        </p:sp>
        <p:sp>
          <p:nvSpPr>
            <p:cNvPr id="23" name="22 Rectángulo"/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auto">
            <a:xfrm>
              <a:off x="969143" y="1756145"/>
              <a:ext cx="3754006" cy="9233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 marL="228600" indent="-228600" eaLnBrk="0" hangingPunct="0"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1pPr>
              <a:lvl2pPr marL="742950" indent="-285750" eaLnBrk="0" hangingPunct="0"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2pPr>
              <a:lvl3pPr marL="1143000" indent="-228600" eaLnBrk="0" hangingPunct="0"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3pPr>
              <a:lvl4pPr marL="1600200" indent="-228600" eaLnBrk="0" hangingPunct="0"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4pPr>
              <a:lvl5pPr marL="2057400" indent="-228600" eaLnBrk="0" hangingPunct="0"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5pPr>
              <a:lvl6pPr marL="25146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6pPr>
              <a:lvl7pPr marL="29718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7pPr>
              <a:lvl8pPr marL="34290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8pPr>
              <a:lvl9pPr marL="38862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9pPr>
            </a:lstStyle>
            <a:p>
              <a:pPr marL="0" indent="0" algn="l" eaLnBrk="1" hangingPunct="1">
                <a:spcAft>
                  <a:spcPts val="1200"/>
                </a:spcAft>
              </a:pPr>
              <a:r>
                <a:rPr lang="es-ES" altLang="es-ES">
                  <a:solidFill>
                    <a:srgbClr val="212B6C"/>
                  </a:solidFill>
                  <a:latin typeface="+mn-lt"/>
                </a:rPr>
                <a:t>Traducir las actuaciones en acciones concretas que permitan la consecución de los objetivos</a:t>
              </a:r>
            </a:p>
          </p:txBody>
        </p:sp>
        <p:sp>
          <p:nvSpPr>
            <p:cNvPr id="24" name="25 Rectángulo"/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auto">
            <a:xfrm>
              <a:off x="606019" y="2928225"/>
              <a:ext cx="3721041" cy="3693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 marL="228600" indent="-228600" eaLnBrk="0" hangingPunct="0"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1pPr>
              <a:lvl2pPr marL="742950" indent="-285750" eaLnBrk="0" hangingPunct="0"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2pPr>
              <a:lvl3pPr marL="1143000" indent="-228600" eaLnBrk="0" hangingPunct="0"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3pPr>
              <a:lvl4pPr marL="1600200" indent="-228600" eaLnBrk="0" hangingPunct="0"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4pPr>
              <a:lvl5pPr marL="2057400" indent="-228600" eaLnBrk="0" hangingPunct="0"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5pPr>
              <a:lvl6pPr marL="25146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6pPr>
              <a:lvl7pPr marL="29718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7pPr>
              <a:lvl8pPr marL="34290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8pPr>
              <a:lvl9pPr marL="38862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9pPr>
            </a:lstStyle>
            <a:p>
              <a:pPr marL="0" indent="0" algn="l" eaLnBrk="1" hangingPunct="1">
                <a:spcAft>
                  <a:spcPts val="1200"/>
                </a:spcAft>
              </a:pPr>
              <a:r>
                <a:rPr lang="es-ES" altLang="es-ES">
                  <a:solidFill>
                    <a:srgbClr val="212B6C"/>
                  </a:solidFill>
                  <a:latin typeface="+mn-lt"/>
                </a:rPr>
                <a:t>Asignación clara de funciones</a:t>
              </a:r>
            </a:p>
          </p:txBody>
        </p:sp>
        <p:sp>
          <p:nvSpPr>
            <p:cNvPr id="25" name="30 Rectángulo"/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auto">
            <a:xfrm>
              <a:off x="606021" y="3780534"/>
              <a:ext cx="3982963" cy="3693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 marL="228600" indent="-228600" eaLnBrk="0" hangingPunct="0"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1pPr>
              <a:lvl2pPr marL="742950" indent="-285750" eaLnBrk="0" hangingPunct="0"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2pPr>
              <a:lvl3pPr marL="1143000" indent="-228600" eaLnBrk="0" hangingPunct="0"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3pPr>
              <a:lvl4pPr marL="1600200" indent="-228600" eaLnBrk="0" hangingPunct="0"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4pPr>
              <a:lvl5pPr marL="2057400" indent="-228600" eaLnBrk="0" hangingPunct="0"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5pPr>
              <a:lvl6pPr marL="25146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6pPr>
              <a:lvl7pPr marL="29718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7pPr>
              <a:lvl8pPr marL="34290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8pPr>
              <a:lvl9pPr marL="38862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9pPr>
            </a:lstStyle>
            <a:p>
              <a:pPr marL="0" indent="0" algn="l" eaLnBrk="1" hangingPunct="1">
                <a:spcAft>
                  <a:spcPts val="1200"/>
                </a:spcAft>
              </a:pPr>
              <a:r>
                <a:rPr lang="es-ES" altLang="es-ES">
                  <a:solidFill>
                    <a:srgbClr val="212B6C"/>
                  </a:solidFill>
                  <a:latin typeface="+mn-lt"/>
                </a:rPr>
                <a:t>Identificar hitos y puntos de control</a:t>
              </a:r>
            </a:p>
          </p:txBody>
        </p:sp>
        <p:sp>
          <p:nvSpPr>
            <p:cNvPr id="26" name="33 Rectángulo"/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auto">
            <a:xfrm>
              <a:off x="1092815" y="4624406"/>
              <a:ext cx="3202893" cy="64633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 marL="228600" indent="-228600" eaLnBrk="0" hangingPunct="0"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1pPr>
              <a:lvl2pPr marL="742950" indent="-285750" eaLnBrk="0" hangingPunct="0"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2pPr>
              <a:lvl3pPr marL="1143000" indent="-228600" eaLnBrk="0" hangingPunct="0"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3pPr>
              <a:lvl4pPr marL="1600200" indent="-228600" eaLnBrk="0" hangingPunct="0"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4pPr>
              <a:lvl5pPr marL="2057400" indent="-228600" eaLnBrk="0" hangingPunct="0"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5pPr>
              <a:lvl6pPr marL="25146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6pPr>
              <a:lvl7pPr marL="29718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7pPr>
              <a:lvl8pPr marL="34290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8pPr>
              <a:lvl9pPr marL="38862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9pPr>
            </a:lstStyle>
            <a:p>
              <a:pPr marL="0" indent="0" algn="l" eaLnBrk="1" hangingPunct="1">
                <a:spcAft>
                  <a:spcPts val="600"/>
                </a:spcAft>
              </a:pPr>
              <a:r>
                <a:rPr lang="es-ES" altLang="es-ES">
                  <a:solidFill>
                    <a:srgbClr val="212B6C"/>
                  </a:solidFill>
                  <a:latin typeface="+mn-lt"/>
                </a:rPr>
                <a:t>Comunicar las actuaciones a toda la organización</a:t>
              </a:r>
            </a:p>
          </p:txBody>
        </p:sp>
        <p:sp>
          <p:nvSpPr>
            <p:cNvPr id="27" name="Rectángulo 26"/>
            <p:cNvSpPr/>
            <p:nvPr/>
          </p:nvSpPr>
          <p:spPr>
            <a:xfrm>
              <a:off x="297711" y="2914725"/>
              <a:ext cx="497724" cy="3693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s-ES" altLang="es-ES">
                  <a:solidFill>
                    <a:srgbClr val="B81B49"/>
                  </a:solidFill>
                </a:rPr>
                <a:t>2) </a:t>
              </a:r>
              <a:endParaRPr lang="es-ES_tradnl">
                <a:solidFill>
                  <a:srgbClr val="B81B49"/>
                </a:solidFill>
              </a:endParaRPr>
            </a:p>
          </p:txBody>
        </p:sp>
        <p:sp>
          <p:nvSpPr>
            <p:cNvPr id="28" name="Rectángulo 27"/>
            <p:cNvSpPr/>
            <p:nvPr/>
          </p:nvSpPr>
          <p:spPr>
            <a:xfrm>
              <a:off x="652129" y="1759321"/>
              <a:ext cx="497724" cy="3693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s-ES" altLang="es-ES">
                  <a:solidFill>
                    <a:srgbClr val="B81B49"/>
                  </a:solidFill>
                </a:rPr>
                <a:t>1) </a:t>
              </a:r>
              <a:endParaRPr lang="es-ES_tradnl">
                <a:solidFill>
                  <a:srgbClr val="B81B49"/>
                </a:solidFill>
              </a:endParaRPr>
            </a:p>
          </p:txBody>
        </p:sp>
        <p:sp>
          <p:nvSpPr>
            <p:cNvPr id="29" name="Rectángulo 28"/>
            <p:cNvSpPr/>
            <p:nvPr/>
          </p:nvSpPr>
          <p:spPr>
            <a:xfrm>
              <a:off x="301255" y="3768874"/>
              <a:ext cx="497724" cy="3693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s-ES" altLang="es-ES">
                  <a:solidFill>
                    <a:srgbClr val="B81B49"/>
                  </a:solidFill>
                </a:rPr>
                <a:t>3) </a:t>
              </a:r>
              <a:endParaRPr lang="es-ES_tradnl">
                <a:solidFill>
                  <a:srgbClr val="B81B49"/>
                </a:solidFill>
              </a:endParaRPr>
            </a:p>
          </p:txBody>
        </p:sp>
        <p:sp>
          <p:nvSpPr>
            <p:cNvPr id="30" name="Rectángulo 29"/>
            <p:cNvSpPr/>
            <p:nvPr/>
          </p:nvSpPr>
          <p:spPr>
            <a:xfrm>
              <a:off x="769088" y="4630111"/>
              <a:ext cx="497724" cy="3693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s-ES" altLang="es-ES">
                  <a:solidFill>
                    <a:srgbClr val="B81B49"/>
                  </a:solidFill>
                </a:rPr>
                <a:t>4) </a:t>
              </a:r>
              <a:endParaRPr lang="es-ES_tradnl">
                <a:solidFill>
                  <a:srgbClr val="B81B49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3922983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 txBox="1">
            <a:spLocks/>
          </p:cNvSpPr>
          <p:nvPr/>
        </p:nvSpPr>
        <p:spPr>
          <a:xfrm>
            <a:off x="295135" y="280021"/>
            <a:ext cx="6756454" cy="271914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ES" altLang="es-ES" sz="2400" b="1">
                <a:solidFill>
                  <a:srgbClr val="0FA8DC"/>
                </a:solidFill>
                <a:latin typeface="+mn-lt"/>
              </a:rPr>
              <a:t>Plan de Seguimiento y Evaluación</a:t>
            </a:r>
          </a:p>
        </p:txBody>
      </p:sp>
      <p:grpSp>
        <p:nvGrpSpPr>
          <p:cNvPr id="70" name="Grupo 69"/>
          <p:cNvGrpSpPr/>
          <p:nvPr/>
        </p:nvGrpSpPr>
        <p:grpSpPr>
          <a:xfrm>
            <a:off x="511446" y="957624"/>
            <a:ext cx="8867250" cy="4937208"/>
            <a:chOff x="511446" y="957624"/>
            <a:chExt cx="8867250" cy="4937208"/>
          </a:xfrm>
        </p:grpSpPr>
        <p:sp>
          <p:nvSpPr>
            <p:cNvPr id="3" name="30 Rectángulo"/>
            <p:cNvSpPr/>
            <p:nvPr>
              <p:custDataLst>
                <p:tags r:id="rId1"/>
              </p:custDataLst>
            </p:nvPr>
          </p:nvSpPr>
          <p:spPr bwMode="ltGray">
            <a:xfrm>
              <a:off x="2170675" y="1462177"/>
              <a:ext cx="147020" cy="2031521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  <a:ln w="3175">
              <a:solidFill>
                <a:schemeClr val="bg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 err="1">
                <a:solidFill>
                  <a:schemeClr val="bg1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4" name="31 Rectángulo"/>
            <p:cNvSpPr/>
            <p:nvPr>
              <p:custDataLst>
                <p:tags r:id="rId2"/>
              </p:custDataLst>
            </p:nvPr>
          </p:nvSpPr>
          <p:spPr bwMode="ltGray">
            <a:xfrm>
              <a:off x="2413559" y="1462177"/>
              <a:ext cx="148836" cy="2031521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  <a:ln w="3175">
              <a:solidFill>
                <a:schemeClr val="bg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 err="1">
                <a:solidFill>
                  <a:schemeClr val="bg1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5" name="32 Rectángulo"/>
            <p:cNvSpPr/>
            <p:nvPr>
              <p:custDataLst>
                <p:tags r:id="rId3"/>
              </p:custDataLst>
            </p:nvPr>
          </p:nvSpPr>
          <p:spPr bwMode="ltGray">
            <a:xfrm>
              <a:off x="2535795" y="1462177"/>
              <a:ext cx="147020" cy="2031521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  <a:ln w="3175">
              <a:solidFill>
                <a:schemeClr val="bg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 err="1">
                <a:solidFill>
                  <a:schemeClr val="bg1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6" name="33 Rectángulo"/>
            <p:cNvSpPr/>
            <p:nvPr>
              <p:custDataLst>
                <p:tags r:id="rId4"/>
              </p:custDataLst>
            </p:nvPr>
          </p:nvSpPr>
          <p:spPr bwMode="ltGray">
            <a:xfrm>
              <a:off x="2291320" y="1462177"/>
              <a:ext cx="148836" cy="2031521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  <a:ln w="3175">
              <a:solidFill>
                <a:schemeClr val="bg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 err="1">
                <a:solidFill>
                  <a:schemeClr val="bg1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7" name="34 Rectángulo"/>
            <p:cNvSpPr/>
            <p:nvPr>
              <p:custDataLst>
                <p:tags r:id="rId5"/>
              </p:custDataLst>
            </p:nvPr>
          </p:nvSpPr>
          <p:spPr bwMode="ltGray">
            <a:xfrm>
              <a:off x="2192239" y="1310394"/>
              <a:ext cx="474663" cy="112713"/>
            </a:xfrm>
            <a:prstGeom prst="rect">
              <a:avLst/>
            </a:prstGeom>
            <a:solidFill>
              <a:srgbClr val="212B6C"/>
            </a:solidFill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s-ES" sz="500" b="1">
                  <a:solidFill>
                    <a:schemeClr val="bg1"/>
                  </a:solidFill>
                </a:rPr>
                <a:t>2016</a:t>
              </a:r>
              <a:endParaRPr lang="en-US" sz="500" b="1" err="1">
                <a:solidFill>
                  <a:schemeClr val="bg1"/>
                </a:solidFill>
              </a:endParaRPr>
            </a:p>
          </p:txBody>
        </p:sp>
        <p:sp>
          <p:nvSpPr>
            <p:cNvPr id="8" name="35 Rectángulo"/>
            <p:cNvSpPr/>
            <p:nvPr>
              <p:custDataLst>
                <p:tags r:id="rId6"/>
              </p:custDataLst>
            </p:nvPr>
          </p:nvSpPr>
          <p:spPr bwMode="ltGray">
            <a:xfrm>
              <a:off x="2718358" y="1462177"/>
              <a:ext cx="148836" cy="2031521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  <a:ln w="3175">
              <a:solidFill>
                <a:schemeClr val="bg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 err="1">
                <a:solidFill>
                  <a:schemeClr val="bg1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9" name="36 Rectángulo"/>
            <p:cNvSpPr/>
            <p:nvPr>
              <p:custDataLst>
                <p:tags r:id="rId7"/>
              </p:custDataLst>
            </p:nvPr>
          </p:nvSpPr>
          <p:spPr bwMode="ltGray">
            <a:xfrm>
              <a:off x="2961245" y="1462177"/>
              <a:ext cx="148836" cy="2031521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  <a:ln w="3175">
              <a:solidFill>
                <a:schemeClr val="bg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 err="1">
                <a:solidFill>
                  <a:schemeClr val="bg1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10" name="37 Rectángulo"/>
            <p:cNvSpPr/>
            <p:nvPr>
              <p:custDataLst>
                <p:tags r:id="rId8"/>
              </p:custDataLst>
            </p:nvPr>
          </p:nvSpPr>
          <p:spPr bwMode="ltGray">
            <a:xfrm>
              <a:off x="3083483" y="1462177"/>
              <a:ext cx="148836" cy="2031521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  <a:ln w="3175">
              <a:solidFill>
                <a:schemeClr val="bg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 err="1">
                <a:solidFill>
                  <a:schemeClr val="bg1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11" name="38 Rectángulo"/>
            <p:cNvSpPr/>
            <p:nvPr>
              <p:custDataLst>
                <p:tags r:id="rId9"/>
              </p:custDataLst>
            </p:nvPr>
          </p:nvSpPr>
          <p:spPr bwMode="ltGray">
            <a:xfrm>
              <a:off x="2839008" y="1462177"/>
              <a:ext cx="148836" cy="2031521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  <a:ln w="3175">
              <a:solidFill>
                <a:schemeClr val="bg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 err="1">
                <a:solidFill>
                  <a:schemeClr val="bg1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12" name="40 Rectángulo"/>
            <p:cNvSpPr/>
            <p:nvPr>
              <p:custDataLst>
                <p:tags r:id="rId10"/>
              </p:custDataLst>
            </p:nvPr>
          </p:nvSpPr>
          <p:spPr bwMode="ltGray">
            <a:xfrm>
              <a:off x="2739929" y="1310394"/>
              <a:ext cx="474663" cy="112713"/>
            </a:xfrm>
            <a:prstGeom prst="rect">
              <a:avLst/>
            </a:prstGeom>
            <a:solidFill>
              <a:srgbClr val="212B6C"/>
            </a:solidFill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s-ES" sz="500" b="1">
                  <a:solidFill>
                    <a:schemeClr val="bg1"/>
                  </a:solidFill>
                </a:rPr>
                <a:t>2017</a:t>
              </a:r>
              <a:endParaRPr lang="en-US" sz="500" b="1" err="1">
                <a:solidFill>
                  <a:schemeClr val="bg1"/>
                </a:solidFill>
              </a:endParaRPr>
            </a:p>
          </p:txBody>
        </p:sp>
        <p:sp>
          <p:nvSpPr>
            <p:cNvPr id="13" name="41 Rectángulo"/>
            <p:cNvSpPr/>
            <p:nvPr>
              <p:custDataLst>
                <p:tags r:id="rId11"/>
              </p:custDataLst>
            </p:nvPr>
          </p:nvSpPr>
          <p:spPr bwMode="ltGray">
            <a:xfrm>
              <a:off x="3266045" y="1462177"/>
              <a:ext cx="147020" cy="2031521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  <a:ln w="3175">
              <a:solidFill>
                <a:schemeClr val="bg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 err="1">
                <a:solidFill>
                  <a:schemeClr val="bg1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14" name="42 Rectángulo"/>
            <p:cNvSpPr/>
            <p:nvPr>
              <p:custDataLst>
                <p:tags r:id="rId12"/>
              </p:custDataLst>
            </p:nvPr>
          </p:nvSpPr>
          <p:spPr bwMode="ltGray">
            <a:xfrm>
              <a:off x="3508933" y="1462177"/>
              <a:ext cx="148836" cy="2031521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  <a:ln w="3175">
              <a:solidFill>
                <a:schemeClr val="bg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 err="1">
                <a:solidFill>
                  <a:schemeClr val="bg1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15" name="44 Rectángulo"/>
            <p:cNvSpPr/>
            <p:nvPr>
              <p:custDataLst>
                <p:tags r:id="rId13"/>
              </p:custDataLst>
            </p:nvPr>
          </p:nvSpPr>
          <p:spPr bwMode="ltGray">
            <a:xfrm>
              <a:off x="3631173" y="1462177"/>
              <a:ext cx="147020" cy="2031521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  <a:ln w="3175">
              <a:solidFill>
                <a:schemeClr val="bg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 err="1">
                <a:solidFill>
                  <a:schemeClr val="bg1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16" name="45 Rectángulo"/>
            <p:cNvSpPr/>
            <p:nvPr>
              <p:custDataLst>
                <p:tags r:id="rId14"/>
              </p:custDataLst>
            </p:nvPr>
          </p:nvSpPr>
          <p:spPr bwMode="ltGray">
            <a:xfrm>
              <a:off x="3388287" y="1462177"/>
              <a:ext cx="147019" cy="2031521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  <a:ln w="3175">
              <a:solidFill>
                <a:schemeClr val="bg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 err="1">
                <a:solidFill>
                  <a:schemeClr val="bg1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17" name="46 Rectángulo"/>
            <p:cNvSpPr/>
            <p:nvPr>
              <p:custDataLst>
                <p:tags r:id="rId15"/>
              </p:custDataLst>
            </p:nvPr>
          </p:nvSpPr>
          <p:spPr bwMode="ltGray">
            <a:xfrm>
              <a:off x="3287611" y="1310394"/>
              <a:ext cx="474663" cy="112713"/>
            </a:xfrm>
            <a:prstGeom prst="rect">
              <a:avLst/>
            </a:prstGeom>
            <a:solidFill>
              <a:srgbClr val="212B6C"/>
            </a:solidFill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s-ES" sz="500" b="1">
                  <a:solidFill>
                    <a:schemeClr val="bg1"/>
                  </a:solidFill>
                </a:rPr>
                <a:t>2018</a:t>
              </a:r>
              <a:endParaRPr lang="en-US" sz="500" b="1" err="1">
                <a:solidFill>
                  <a:schemeClr val="bg1"/>
                </a:solidFill>
              </a:endParaRPr>
            </a:p>
          </p:txBody>
        </p:sp>
        <p:sp>
          <p:nvSpPr>
            <p:cNvPr id="18" name="47 Rectángulo"/>
            <p:cNvSpPr/>
            <p:nvPr>
              <p:custDataLst>
                <p:tags r:id="rId16"/>
              </p:custDataLst>
            </p:nvPr>
          </p:nvSpPr>
          <p:spPr bwMode="ltGray">
            <a:xfrm>
              <a:off x="3813733" y="1462177"/>
              <a:ext cx="148836" cy="2031521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  <a:ln w="3175">
              <a:solidFill>
                <a:schemeClr val="bg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 err="1">
                <a:solidFill>
                  <a:schemeClr val="bg1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19" name="48 Rectángulo"/>
            <p:cNvSpPr/>
            <p:nvPr>
              <p:custDataLst>
                <p:tags r:id="rId17"/>
              </p:custDataLst>
            </p:nvPr>
          </p:nvSpPr>
          <p:spPr bwMode="ltGray">
            <a:xfrm>
              <a:off x="4056620" y="1462177"/>
              <a:ext cx="148836" cy="2031521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  <a:ln w="3175">
              <a:solidFill>
                <a:schemeClr val="bg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 err="1">
                <a:solidFill>
                  <a:schemeClr val="bg1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20" name="49 Rectángulo"/>
            <p:cNvSpPr/>
            <p:nvPr>
              <p:custDataLst>
                <p:tags r:id="rId18"/>
              </p:custDataLst>
            </p:nvPr>
          </p:nvSpPr>
          <p:spPr bwMode="ltGray">
            <a:xfrm>
              <a:off x="4178858" y="1462177"/>
              <a:ext cx="148836" cy="2031521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  <a:ln w="3175">
              <a:solidFill>
                <a:schemeClr val="bg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 err="1">
                <a:solidFill>
                  <a:schemeClr val="bg1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21" name="50 Rectángulo"/>
            <p:cNvSpPr/>
            <p:nvPr>
              <p:custDataLst>
                <p:tags r:id="rId19"/>
              </p:custDataLst>
            </p:nvPr>
          </p:nvSpPr>
          <p:spPr bwMode="ltGray">
            <a:xfrm>
              <a:off x="3935971" y="1462177"/>
              <a:ext cx="147020" cy="2031521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  <a:ln w="3175">
              <a:solidFill>
                <a:schemeClr val="bg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 err="1">
                <a:solidFill>
                  <a:schemeClr val="bg1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22" name="51 Rectángulo"/>
            <p:cNvSpPr/>
            <p:nvPr>
              <p:custDataLst>
                <p:tags r:id="rId20"/>
              </p:custDataLst>
            </p:nvPr>
          </p:nvSpPr>
          <p:spPr bwMode="ltGray">
            <a:xfrm>
              <a:off x="3835298" y="1310394"/>
              <a:ext cx="474663" cy="112713"/>
            </a:xfrm>
            <a:prstGeom prst="rect">
              <a:avLst/>
            </a:prstGeom>
            <a:solidFill>
              <a:srgbClr val="212B6C"/>
            </a:solidFill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s-ES" sz="500" b="1">
                  <a:solidFill>
                    <a:schemeClr val="bg1"/>
                  </a:solidFill>
                </a:rPr>
                <a:t>2019</a:t>
              </a:r>
              <a:endParaRPr lang="en-US" sz="500" b="1" err="1">
                <a:solidFill>
                  <a:schemeClr val="bg1"/>
                </a:solidFill>
              </a:endParaRPr>
            </a:p>
          </p:txBody>
        </p:sp>
        <p:sp>
          <p:nvSpPr>
            <p:cNvPr id="23" name="52 Rectángulo"/>
            <p:cNvSpPr/>
            <p:nvPr>
              <p:custDataLst>
                <p:tags r:id="rId21"/>
              </p:custDataLst>
            </p:nvPr>
          </p:nvSpPr>
          <p:spPr bwMode="ltGray">
            <a:xfrm>
              <a:off x="1604142" y="1462177"/>
              <a:ext cx="148836" cy="2031521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  <a:ln w="3175">
              <a:solidFill>
                <a:schemeClr val="bg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 err="1">
                <a:solidFill>
                  <a:schemeClr val="bg1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24" name="53 Rectángulo"/>
            <p:cNvSpPr/>
            <p:nvPr>
              <p:custDataLst>
                <p:tags r:id="rId22"/>
              </p:custDataLst>
            </p:nvPr>
          </p:nvSpPr>
          <p:spPr bwMode="ltGray">
            <a:xfrm>
              <a:off x="1865870" y="1462177"/>
              <a:ext cx="148836" cy="2031521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  <a:ln w="3175">
              <a:solidFill>
                <a:schemeClr val="bg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 err="1">
                <a:solidFill>
                  <a:schemeClr val="bg1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25" name="54 Rectángulo"/>
            <p:cNvSpPr/>
            <p:nvPr>
              <p:custDataLst>
                <p:tags r:id="rId23"/>
              </p:custDataLst>
            </p:nvPr>
          </p:nvSpPr>
          <p:spPr bwMode="ltGray">
            <a:xfrm>
              <a:off x="1986520" y="1462177"/>
              <a:ext cx="148836" cy="2031521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  <a:ln w="3175">
              <a:solidFill>
                <a:schemeClr val="bg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 err="1">
                <a:solidFill>
                  <a:schemeClr val="bg1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26" name="55 Rectángulo"/>
            <p:cNvSpPr/>
            <p:nvPr>
              <p:custDataLst>
                <p:tags r:id="rId24"/>
              </p:custDataLst>
            </p:nvPr>
          </p:nvSpPr>
          <p:spPr bwMode="ltGray">
            <a:xfrm>
              <a:off x="1743633" y="1462177"/>
              <a:ext cx="148836" cy="2031521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  <a:ln w="3175">
              <a:solidFill>
                <a:schemeClr val="bg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 err="1">
                <a:solidFill>
                  <a:schemeClr val="bg1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27" name="56 Rectángulo"/>
            <p:cNvSpPr/>
            <p:nvPr>
              <p:custDataLst>
                <p:tags r:id="rId25"/>
              </p:custDataLst>
            </p:nvPr>
          </p:nvSpPr>
          <p:spPr bwMode="ltGray">
            <a:xfrm>
              <a:off x="543464" y="1470803"/>
              <a:ext cx="1066475" cy="2031521"/>
            </a:xfrm>
            <a:prstGeom prst="rect">
              <a:avLst/>
            </a:prstGeom>
            <a:solidFill>
              <a:schemeClr val="accent6">
                <a:lumMod val="40000"/>
                <a:lumOff val="60000"/>
              </a:schemeClr>
            </a:solidFill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 err="1">
                <a:solidFill>
                  <a:schemeClr val="bg1"/>
                </a:solidFill>
                <a:latin typeface="Calibri" panose="020F0502020204030204" pitchFamily="34" charset="0"/>
              </a:endParaRPr>
            </a:p>
          </p:txBody>
        </p:sp>
        <p:cxnSp>
          <p:nvCxnSpPr>
            <p:cNvPr id="28" name="57 Conector recto"/>
            <p:cNvCxnSpPr/>
            <p:nvPr>
              <p:custDataLst>
                <p:tags r:id="rId26"/>
              </p:custDataLst>
            </p:nvPr>
          </p:nvCxnSpPr>
          <p:spPr>
            <a:xfrm flipV="1">
              <a:off x="585997" y="1835862"/>
              <a:ext cx="3714750" cy="12227"/>
            </a:xfrm>
            <a:prstGeom prst="line">
              <a:avLst/>
            </a:prstGeom>
            <a:ln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58 Conector recto"/>
            <p:cNvCxnSpPr/>
            <p:nvPr>
              <p:custDataLst>
                <p:tags r:id="rId27"/>
              </p:custDataLst>
            </p:nvPr>
          </p:nvCxnSpPr>
          <p:spPr>
            <a:xfrm>
              <a:off x="592347" y="2375139"/>
              <a:ext cx="3695700" cy="19523"/>
            </a:xfrm>
            <a:prstGeom prst="line">
              <a:avLst/>
            </a:prstGeom>
            <a:ln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59 Conector recto"/>
            <p:cNvCxnSpPr/>
            <p:nvPr>
              <p:custDataLst>
                <p:tags r:id="rId28"/>
              </p:custDataLst>
            </p:nvPr>
          </p:nvCxnSpPr>
          <p:spPr>
            <a:xfrm>
              <a:off x="586596" y="2937294"/>
              <a:ext cx="3707801" cy="5055"/>
            </a:xfrm>
            <a:prstGeom prst="line">
              <a:avLst/>
            </a:prstGeom>
            <a:ln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1" name="61 CuadroTexto"/>
            <p:cNvSpPr txBox="1"/>
            <p:nvPr>
              <p:custDataLst>
                <p:tags r:id="rId29"/>
              </p:custDataLst>
            </p:nvPr>
          </p:nvSpPr>
          <p:spPr>
            <a:xfrm>
              <a:off x="600848" y="1276996"/>
              <a:ext cx="1003300" cy="91003"/>
            </a:xfrm>
            <a:prstGeom prst="rect">
              <a:avLst/>
            </a:prstGeom>
            <a:noFill/>
            <a:effectLst/>
          </p:spPr>
          <p:txBody>
            <a:bodyPr lIns="0" tIns="0" rIns="0" bIns="0"/>
            <a:lstStyle>
              <a:lvl1pPr indent="-273050" eaLnBrk="0" hangingPunct="0"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1pPr>
              <a:lvl2pPr marL="742950" indent="-285750" eaLnBrk="0" hangingPunct="0"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2pPr>
              <a:lvl3pPr marL="1143000" indent="-228600" eaLnBrk="0" hangingPunct="0"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3pPr>
              <a:lvl4pPr marL="1600200" indent="-228600" eaLnBrk="0" hangingPunct="0"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4pPr>
              <a:lvl5pPr marL="2057400" indent="-228600" eaLnBrk="0" hangingPunct="0"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5pPr>
              <a:lvl6pPr marL="25146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6pPr>
              <a:lvl7pPr marL="29718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7pPr>
              <a:lvl8pPr marL="34290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8pPr>
              <a:lvl9pPr marL="38862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9pPr>
            </a:lstStyle>
            <a:p>
              <a:pPr eaLnBrk="1" hangingPunct="1">
                <a:spcAft>
                  <a:spcPts val="900"/>
                </a:spcAft>
              </a:pPr>
              <a:r>
                <a:rPr lang="es-ES" altLang="es-ES" sz="1000">
                  <a:solidFill>
                    <a:srgbClr val="212B6C"/>
                  </a:solidFill>
                  <a:latin typeface="+mn-lt"/>
                </a:rPr>
                <a:t>Actuaciones</a:t>
              </a:r>
              <a:r>
                <a:rPr lang="es-ES" altLang="es-ES" sz="800" b="1">
                  <a:solidFill>
                    <a:srgbClr val="212B6C"/>
                  </a:solidFill>
                  <a:latin typeface="+mn-lt"/>
                </a:rPr>
                <a:t>:</a:t>
              </a:r>
              <a:endParaRPr lang="en-US" altLang="es-ES" sz="800" b="1">
                <a:solidFill>
                  <a:srgbClr val="212B6C"/>
                </a:solidFill>
                <a:latin typeface="+mn-lt"/>
              </a:endParaRPr>
            </a:p>
          </p:txBody>
        </p:sp>
        <p:sp>
          <p:nvSpPr>
            <p:cNvPr id="32" name="62 Rectángulo"/>
            <p:cNvSpPr/>
            <p:nvPr>
              <p:custDataLst>
                <p:tags r:id="rId30"/>
              </p:custDataLst>
            </p:nvPr>
          </p:nvSpPr>
          <p:spPr bwMode="ltGray">
            <a:xfrm>
              <a:off x="1625710" y="1314707"/>
              <a:ext cx="474663" cy="112713"/>
            </a:xfrm>
            <a:prstGeom prst="rect">
              <a:avLst/>
            </a:prstGeom>
            <a:solidFill>
              <a:srgbClr val="212B6C"/>
            </a:solidFill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s-ES" sz="500" b="1">
                  <a:solidFill>
                    <a:schemeClr val="bg1"/>
                  </a:solidFill>
                </a:rPr>
                <a:t>2015</a:t>
              </a:r>
              <a:endParaRPr lang="en-US" sz="500" b="1" err="1">
                <a:solidFill>
                  <a:schemeClr val="bg1"/>
                </a:solidFill>
              </a:endParaRPr>
            </a:p>
          </p:txBody>
        </p:sp>
        <p:sp>
          <p:nvSpPr>
            <p:cNvPr id="33" name="66 CuadroTexto"/>
            <p:cNvSpPr txBox="1"/>
            <p:nvPr>
              <p:custDataLst>
                <p:tags r:id="rId31"/>
              </p:custDataLst>
            </p:nvPr>
          </p:nvSpPr>
          <p:spPr>
            <a:xfrm>
              <a:off x="661230" y="1599420"/>
              <a:ext cx="1003300" cy="334963"/>
            </a:xfrm>
            <a:prstGeom prst="rect">
              <a:avLst/>
            </a:prstGeom>
            <a:noFill/>
            <a:effectLst/>
          </p:spPr>
          <p:txBody>
            <a:bodyPr lIns="0" tIns="0" rIns="0" bIns="0"/>
            <a:lstStyle>
              <a:lvl1pPr indent="-273050" eaLnBrk="0" hangingPunct="0"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1pPr>
              <a:lvl2pPr marL="742950" indent="-285750" eaLnBrk="0" hangingPunct="0"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2pPr>
              <a:lvl3pPr marL="1143000" indent="-228600" eaLnBrk="0" hangingPunct="0"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3pPr>
              <a:lvl4pPr marL="1600200" indent="-228600" eaLnBrk="0" hangingPunct="0"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4pPr>
              <a:lvl5pPr marL="2057400" indent="-228600" eaLnBrk="0" hangingPunct="0"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5pPr>
              <a:lvl6pPr marL="25146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6pPr>
              <a:lvl7pPr marL="29718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7pPr>
              <a:lvl8pPr marL="34290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8pPr>
              <a:lvl9pPr marL="38862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9pPr>
            </a:lstStyle>
            <a:p>
              <a:pPr eaLnBrk="1" hangingPunct="1">
                <a:spcAft>
                  <a:spcPts val="900"/>
                </a:spcAft>
              </a:pPr>
              <a:r>
                <a:rPr lang="es-ES" altLang="es-ES" sz="800" b="1">
                  <a:solidFill>
                    <a:srgbClr val="212B6C"/>
                  </a:solidFill>
                  <a:latin typeface="+mn-lt"/>
                </a:rPr>
                <a:t>Actuación 1:</a:t>
              </a:r>
              <a:endParaRPr lang="en-US" altLang="es-ES" sz="800" b="1">
                <a:solidFill>
                  <a:srgbClr val="212B6C"/>
                </a:solidFill>
                <a:latin typeface="+mn-lt"/>
              </a:endParaRPr>
            </a:p>
          </p:txBody>
        </p:sp>
        <p:sp>
          <p:nvSpPr>
            <p:cNvPr id="34" name="69 CuadroTexto"/>
            <p:cNvSpPr txBox="1"/>
            <p:nvPr>
              <p:custDataLst>
                <p:tags r:id="rId32"/>
              </p:custDataLst>
            </p:nvPr>
          </p:nvSpPr>
          <p:spPr>
            <a:xfrm>
              <a:off x="661230" y="2047174"/>
              <a:ext cx="1003300" cy="334963"/>
            </a:xfrm>
            <a:prstGeom prst="rect">
              <a:avLst/>
            </a:prstGeom>
            <a:noFill/>
            <a:effectLst/>
          </p:spPr>
          <p:txBody>
            <a:bodyPr lIns="0" tIns="0" rIns="0" bIns="0"/>
            <a:lstStyle>
              <a:lvl1pPr indent="-273050" eaLnBrk="0" hangingPunct="0"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1pPr>
              <a:lvl2pPr marL="742950" indent="-285750" eaLnBrk="0" hangingPunct="0"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2pPr>
              <a:lvl3pPr marL="1143000" indent="-228600" eaLnBrk="0" hangingPunct="0"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3pPr>
              <a:lvl4pPr marL="1600200" indent="-228600" eaLnBrk="0" hangingPunct="0"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4pPr>
              <a:lvl5pPr marL="2057400" indent="-228600" eaLnBrk="0" hangingPunct="0"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5pPr>
              <a:lvl6pPr marL="25146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6pPr>
              <a:lvl7pPr marL="29718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7pPr>
              <a:lvl8pPr marL="34290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8pPr>
              <a:lvl9pPr marL="38862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9pPr>
            </a:lstStyle>
            <a:p>
              <a:pPr eaLnBrk="1" hangingPunct="1">
                <a:spcAft>
                  <a:spcPts val="900"/>
                </a:spcAft>
              </a:pPr>
              <a:r>
                <a:rPr lang="es-ES" altLang="es-ES" sz="800" b="1">
                  <a:solidFill>
                    <a:srgbClr val="212B6C"/>
                  </a:solidFill>
                  <a:latin typeface="+mn-lt"/>
                </a:rPr>
                <a:t>Actuación 2:</a:t>
              </a:r>
              <a:endParaRPr lang="en-US" altLang="es-ES" sz="800" b="1">
                <a:solidFill>
                  <a:srgbClr val="212B6C"/>
                </a:solidFill>
                <a:latin typeface="+mn-lt"/>
              </a:endParaRPr>
            </a:p>
          </p:txBody>
        </p:sp>
        <p:sp>
          <p:nvSpPr>
            <p:cNvPr id="35" name="70 CuadroTexto"/>
            <p:cNvSpPr txBox="1"/>
            <p:nvPr>
              <p:custDataLst>
                <p:tags r:id="rId33"/>
              </p:custDataLst>
            </p:nvPr>
          </p:nvSpPr>
          <p:spPr>
            <a:xfrm>
              <a:off x="661230" y="2627126"/>
              <a:ext cx="1003300" cy="336550"/>
            </a:xfrm>
            <a:prstGeom prst="rect">
              <a:avLst/>
            </a:prstGeom>
            <a:noFill/>
            <a:effectLst/>
          </p:spPr>
          <p:txBody>
            <a:bodyPr lIns="0" tIns="0" rIns="0" bIns="0"/>
            <a:lstStyle>
              <a:lvl1pPr indent="-273050" eaLnBrk="0" hangingPunct="0"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1pPr>
              <a:lvl2pPr marL="742950" indent="-285750" eaLnBrk="0" hangingPunct="0"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2pPr>
              <a:lvl3pPr marL="1143000" indent="-228600" eaLnBrk="0" hangingPunct="0"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3pPr>
              <a:lvl4pPr marL="1600200" indent="-228600" eaLnBrk="0" hangingPunct="0"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4pPr>
              <a:lvl5pPr marL="2057400" indent="-228600" eaLnBrk="0" hangingPunct="0"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5pPr>
              <a:lvl6pPr marL="25146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6pPr>
              <a:lvl7pPr marL="29718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7pPr>
              <a:lvl8pPr marL="34290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8pPr>
              <a:lvl9pPr marL="38862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9pPr>
            </a:lstStyle>
            <a:p>
              <a:pPr eaLnBrk="1" hangingPunct="1">
                <a:spcAft>
                  <a:spcPts val="900"/>
                </a:spcAft>
              </a:pPr>
              <a:r>
                <a:rPr lang="es-ES" altLang="es-ES" sz="800" b="1">
                  <a:solidFill>
                    <a:srgbClr val="212B6C"/>
                  </a:solidFill>
                  <a:latin typeface="+mn-lt"/>
                </a:rPr>
                <a:t>Actuación 3:</a:t>
              </a:r>
              <a:endParaRPr lang="en-US" altLang="es-ES" sz="800" b="1">
                <a:solidFill>
                  <a:srgbClr val="212B6C"/>
                </a:solidFill>
                <a:latin typeface="+mn-lt"/>
              </a:endParaRPr>
            </a:p>
          </p:txBody>
        </p:sp>
        <p:sp>
          <p:nvSpPr>
            <p:cNvPr id="36" name="71 CuadroTexto"/>
            <p:cNvSpPr txBox="1"/>
            <p:nvPr>
              <p:custDataLst>
                <p:tags r:id="rId34"/>
              </p:custDataLst>
            </p:nvPr>
          </p:nvSpPr>
          <p:spPr>
            <a:xfrm>
              <a:off x="661230" y="3174814"/>
              <a:ext cx="1003300" cy="334962"/>
            </a:xfrm>
            <a:prstGeom prst="rect">
              <a:avLst/>
            </a:prstGeom>
            <a:noFill/>
            <a:effectLst/>
          </p:spPr>
          <p:txBody>
            <a:bodyPr lIns="0" tIns="0" rIns="0" bIns="0"/>
            <a:lstStyle>
              <a:lvl1pPr indent="-273050" eaLnBrk="0" hangingPunct="0"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1pPr>
              <a:lvl2pPr marL="742950" indent="-285750" eaLnBrk="0" hangingPunct="0"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2pPr>
              <a:lvl3pPr marL="1143000" indent="-228600" eaLnBrk="0" hangingPunct="0"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3pPr>
              <a:lvl4pPr marL="1600200" indent="-228600" eaLnBrk="0" hangingPunct="0"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4pPr>
              <a:lvl5pPr marL="2057400" indent="-228600" eaLnBrk="0" hangingPunct="0"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5pPr>
              <a:lvl6pPr marL="25146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6pPr>
              <a:lvl7pPr marL="29718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7pPr>
              <a:lvl8pPr marL="34290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8pPr>
              <a:lvl9pPr marL="38862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9pPr>
            </a:lstStyle>
            <a:p>
              <a:pPr eaLnBrk="1" hangingPunct="1">
                <a:spcAft>
                  <a:spcPts val="900"/>
                </a:spcAft>
              </a:pPr>
              <a:r>
                <a:rPr lang="es-ES" altLang="es-ES" sz="800" b="1">
                  <a:solidFill>
                    <a:srgbClr val="212B6C"/>
                  </a:solidFill>
                  <a:latin typeface="+mn-lt"/>
                </a:rPr>
                <a:t>Actuación 4:</a:t>
              </a:r>
              <a:endParaRPr lang="en-US" altLang="es-ES" sz="800" b="1">
                <a:solidFill>
                  <a:srgbClr val="212B6C"/>
                </a:solidFill>
                <a:latin typeface="+mn-lt"/>
              </a:endParaRPr>
            </a:p>
          </p:txBody>
        </p:sp>
        <p:sp>
          <p:nvSpPr>
            <p:cNvPr id="37" name="72 Rectángulo"/>
            <p:cNvSpPr/>
            <p:nvPr>
              <p:custDataLst>
                <p:tags r:id="rId35"/>
              </p:custDataLst>
            </p:nvPr>
          </p:nvSpPr>
          <p:spPr bwMode="ltGray">
            <a:xfrm>
              <a:off x="1622944" y="1586180"/>
              <a:ext cx="456164" cy="112022"/>
            </a:xfrm>
            <a:prstGeom prst="rect">
              <a:avLst/>
            </a:prstGeom>
            <a:solidFill>
              <a:srgbClr val="0FA8DC"/>
            </a:solidFill>
            <a:ln/>
            <a:effectLst/>
          </p:spPr>
          <p:style>
            <a:lnRef idx="0">
              <a:schemeClr val="accent1"/>
            </a:lnRef>
            <a:fillRef idx="3">
              <a:schemeClr val="accent1"/>
            </a:fillRef>
            <a:effectRef idx="3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 err="1">
                <a:solidFill>
                  <a:schemeClr val="bg1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38" name="73 Rectángulo"/>
            <p:cNvSpPr/>
            <p:nvPr>
              <p:custDataLst>
                <p:tags r:id="rId36"/>
              </p:custDataLst>
            </p:nvPr>
          </p:nvSpPr>
          <p:spPr bwMode="ltGray">
            <a:xfrm>
              <a:off x="1805590" y="2033855"/>
              <a:ext cx="1423992" cy="112022"/>
            </a:xfrm>
            <a:prstGeom prst="rect">
              <a:avLst/>
            </a:prstGeom>
            <a:solidFill>
              <a:srgbClr val="0FA8DC"/>
            </a:solidFill>
            <a:ln/>
            <a:effectLst/>
          </p:spPr>
          <p:style>
            <a:lnRef idx="0">
              <a:schemeClr val="accent1"/>
            </a:lnRef>
            <a:fillRef idx="3">
              <a:schemeClr val="accent1"/>
            </a:fillRef>
            <a:effectRef idx="3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 err="1">
                <a:solidFill>
                  <a:schemeClr val="bg1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39" name="74 Triángulo isósceles"/>
            <p:cNvSpPr>
              <a:spLocks noChangeAspect="1"/>
            </p:cNvSpPr>
            <p:nvPr>
              <p:custDataLst>
                <p:tags r:id="rId37"/>
              </p:custDataLst>
            </p:nvPr>
          </p:nvSpPr>
          <p:spPr bwMode="ltGray">
            <a:xfrm>
              <a:off x="2531853" y="2098420"/>
              <a:ext cx="186228" cy="197873"/>
            </a:xfrm>
            <a:prstGeom prst="triangle">
              <a:avLst/>
            </a:prstGeom>
            <a:ln/>
            <a:effectLst/>
          </p:spPr>
          <p:style>
            <a:lnRef idx="0">
              <a:schemeClr val="accent5"/>
            </a:lnRef>
            <a:fillRef idx="3">
              <a:schemeClr val="accent5"/>
            </a:fillRef>
            <a:effectRef idx="3">
              <a:schemeClr val="accent5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 err="1">
                <a:solidFill>
                  <a:schemeClr val="bg1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40" name="75 Rectángulo"/>
            <p:cNvSpPr/>
            <p:nvPr>
              <p:custDataLst>
                <p:tags r:id="rId38"/>
              </p:custDataLst>
            </p:nvPr>
          </p:nvSpPr>
          <p:spPr bwMode="ltGray">
            <a:xfrm>
              <a:off x="2260823" y="2593125"/>
              <a:ext cx="1510833" cy="112448"/>
            </a:xfrm>
            <a:prstGeom prst="rect">
              <a:avLst/>
            </a:prstGeom>
            <a:solidFill>
              <a:srgbClr val="0FA8DC"/>
            </a:solidFill>
            <a:ln/>
            <a:effectLst/>
          </p:spPr>
          <p:style>
            <a:lnRef idx="0">
              <a:schemeClr val="accent1"/>
            </a:lnRef>
            <a:fillRef idx="3">
              <a:schemeClr val="accent1"/>
            </a:fillRef>
            <a:effectRef idx="3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 err="1">
                <a:solidFill>
                  <a:schemeClr val="bg1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41" name="76 Rectángulo"/>
            <p:cNvSpPr/>
            <p:nvPr>
              <p:custDataLst>
                <p:tags r:id="rId39"/>
              </p:custDataLst>
            </p:nvPr>
          </p:nvSpPr>
          <p:spPr bwMode="ltGray">
            <a:xfrm>
              <a:off x="3822320" y="3187553"/>
              <a:ext cx="456164" cy="112021"/>
            </a:xfrm>
            <a:prstGeom prst="rect">
              <a:avLst/>
            </a:prstGeom>
            <a:solidFill>
              <a:srgbClr val="0FA8DC"/>
            </a:solidFill>
            <a:ln/>
            <a:effectLst/>
          </p:spPr>
          <p:style>
            <a:lnRef idx="0">
              <a:schemeClr val="accent1"/>
            </a:lnRef>
            <a:fillRef idx="3">
              <a:schemeClr val="accent1"/>
            </a:fillRef>
            <a:effectRef idx="3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 err="1">
                <a:solidFill>
                  <a:schemeClr val="bg1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42" name="80 Rectángulo"/>
            <p:cNvSpPr/>
            <p:nvPr>
              <p:custDataLst>
                <p:tags r:id="rId40"/>
              </p:custDataLst>
            </p:nvPr>
          </p:nvSpPr>
          <p:spPr bwMode="ltGray">
            <a:xfrm>
              <a:off x="543464" y="3493220"/>
              <a:ext cx="3782683" cy="248270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bIns="72000" anchor="ctr"/>
            <a:lstStyle>
              <a:lvl1pPr eaLnBrk="0" hangingPunct="0"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1pPr>
              <a:lvl2pPr marL="742950" indent="-285750" eaLnBrk="0" hangingPunct="0"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2pPr>
              <a:lvl3pPr marL="1143000" indent="-228600" eaLnBrk="0" hangingPunct="0"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3pPr>
              <a:lvl4pPr marL="1600200" indent="-228600" eaLnBrk="0" hangingPunct="0"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4pPr>
              <a:lvl5pPr marL="2057400" indent="-228600" eaLnBrk="0" hangingPunct="0"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5pPr>
              <a:lvl6pPr marL="25146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6pPr>
              <a:lvl7pPr marL="29718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7pPr>
              <a:lvl8pPr marL="34290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8pPr>
              <a:lvl9pPr marL="38862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9pPr>
            </a:lstStyle>
            <a:p>
              <a:pPr algn="l" eaLnBrk="1" hangingPunct="1"/>
              <a:r>
                <a:rPr lang="es-ES" altLang="es-ES" sz="1200">
                  <a:solidFill>
                    <a:srgbClr val="0FA8DC"/>
                  </a:solidFill>
                  <a:latin typeface="+mn-lt"/>
                </a:rPr>
                <a:t>Responsables</a:t>
              </a:r>
              <a:endParaRPr lang="en-US" altLang="es-ES" sz="1200">
                <a:solidFill>
                  <a:srgbClr val="0FA8DC"/>
                </a:solidFill>
                <a:latin typeface="+mn-lt"/>
              </a:endParaRPr>
            </a:p>
          </p:txBody>
        </p:sp>
        <p:sp>
          <p:nvSpPr>
            <p:cNvPr id="43" name="Elipse 42"/>
            <p:cNvSpPr/>
            <p:nvPr/>
          </p:nvSpPr>
          <p:spPr>
            <a:xfrm>
              <a:off x="3239218" y="1897812"/>
              <a:ext cx="211347" cy="211347"/>
            </a:xfrm>
            <a:prstGeom prst="ellipse">
              <a:avLst/>
            </a:prstGeom>
            <a:solidFill>
              <a:srgbClr val="212B6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/>
            </a:p>
          </p:txBody>
        </p:sp>
        <p:sp>
          <p:nvSpPr>
            <p:cNvPr id="44" name="Elipse 43"/>
            <p:cNvSpPr/>
            <p:nvPr/>
          </p:nvSpPr>
          <p:spPr>
            <a:xfrm>
              <a:off x="3628844" y="2968925"/>
              <a:ext cx="211347" cy="211347"/>
            </a:xfrm>
            <a:prstGeom prst="ellipse">
              <a:avLst/>
            </a:prstGeom>
            <a:solidFill>
              <a:srgbClr val="212B6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/>
            </a:p>
          </p:txBody>
        </p:sp>
        <p:sp>
          <p:nvSpPr>
            <p:cNvPr id="45" name="74 Triángulo isósceles"/>
            <p:cNvSpPr>
              <a:spLocks noChangeAspect="1"/>
            </p:cNvSpPr>
            <p:nvPr>
              <p:custDataLst>
                <p:tags r:id="rId41"/>
              </p:custDataLst>
            </p:nvPr>
          </p:nvSpPr>
          <p:spPr bwMode="ltGray">
            <a:xfrm>
              <a:off x="2235680" y="1569333"/>
              <a:ext cx="186228" cy="197873"/>
            </a:xfrm>
            <a:prstGeom prst="triangle">
              <a:avLst/>
            </a:prstGeom>
            <a:ln/>
            <a:effectLst/>
          </p:spPr>
          <p:style>
            <a:lnRef idx="0">
              <a:schemeClr val="accent5"/>
            </a:lnRef>
            <a:fillRef idx="3">
              <a:schemeClr val="accent5"/>
            </a:fillRef>
            <a:effectRef idx="3">
              <a:schemeClr val="accent5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 err="1">
                <a:solidFill>
                  <a:schemeClr val="bg1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46" name="74 Triángulo isósceles"/>
            <p:cNvSpPr>
              <a:spLocks noChangeAspect="1"/>
            </p:cNvSpPr>
            <p:nvPr>
              <p:custDataLst>
                <p:tags r:id="rId42"/>
              </p:custDataLst>
            </p:nvPr>
          </p:nvSpPr>
          <p:spPr bwMode="ltGray">
            <a:xfrm>
              <a:off x="3059502" y="2630383"/>
              <a:ext cx="186228" cy="197873"/>
            </a:xfrm>
            <a:prstGeom prst="triangle">
              <a:avLst/>
            </a:prstGeom>
            <a:ln/>
            <a:effectLst/>
          </p:spPr>
          <p:style>
            <a:lnRef idx="0">
              <a:schemeClr val="accent5"/>
            </a:lnRef>
            <a:fillRef idx="3">
              <a:schemeClr val="accent5"/>
            </a:fillRef>
            <a:effectRef idx="3">
              <a:schemeClr val="accent5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 err="1">
                <a:solidFill>
                  <a:schemeClr val="bg1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47" name="Rectángulo redondeado 46"/>
            <p:cNvSpPr/>
            <p:nvPr/>
          </p:nvSpPr>
          <p:spPr>
            <a:xfrm>
              <a:off x="511446" y="3892728"/>
              <a:ext cx="3352906" cy="615264"/>
            </a:xfrm>
            <a:prstGeom prst="roundRect">
              <a:avLst/>
            </a:prstGeom>
            <a:solidFill>
              <a:schemeClr val="bg1"/>
            </a:solidFill>
            <a:ln w="28575">
              <a:solidFill>
                <a:srgbClr val="0FA8D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/>
            </a:p>
          </p:txBody>
        </p:sp>
        <p:sp>
          <p:nvSpPr>
            <p:cNvPr id="48" name="84 CuadroTexto"/>
            <p:cNvSpPr txBox="1">
              <a:spLocks noChangeArrowheads="1"/>
            </p:cNvSpPr>
            <p:nvPr>
              <p:custDataLst>
                <p:tags r:id="rId43"/>
              </p:custDataLst>
            </p:nvPr>
          </p:nvSpPr>
          <p:spPr bwMode="auto">
            <a:xfrm>
              <a:off x="1425788" y="4047462"/>
              <a:ext cx="2167804" cy="30210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>
              <a:lvl1pPr indent="-273050" eaLnBrk="0" hangingPunct="0"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1pPr>
              <a:lvl2pPr marL="742950" indent="-285750" eaLnBrk="0" hangingPunct="0"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2pPr>
              <a:lvl3pPr marL="1143000" indent="-228600" eaLnBrk="0" hangingPunct="0"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3pPr>
              <a:lvl4pPr marL="1600200" indent="-228600" eaLnBrk="0" hangingPunct="0"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4pPr>
              <a:lvl5pPr marL="2057400" indent="-228600" eaLnBrk="0" hangingPunct="0"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5pPr>
              <a:lvl6pPr marL="25146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6pPr>
              <a:lvl7pPr marL="29718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7pPr>
              <a:lvl8pPr marL="34290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8pPr>
              <a:lvl9pPr marL="38862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9pPr>
            </a:lstStyle>
            <a:p>
              <a:pPr eaLnBrk="1" hangingPunct="1">
                <a:spcAft>
                  <a:spcPts val="900"/>
                </a:spcAft>
              </a:pPr>
              <a:r>
                <a:rPr lang="es-ES" altLang="es-ES" b="1">
                  <a:solidFill>
                    <a:srgbClr val="0FA8DC"/>
                  </a:solidFill>
                  <a:latin typeface="+mn-lt"/>
                </a:rPr>
                <a:t>Hitos y puntos de control</a:t>
              </a:r>
              <a:endParaRPr lang="en-US" altLang="es-ES" b="1">
                <a:solidFill>
                  <a:srgbClr val="0FA8DC"/>
                </a:solidFill>
                <a:latin typeface="+mn-lt"/>
              </a:endParaRPr>
            </a:p>
          </p:txBody>
        </p:sp>
        <p:sp>
          <p:nvSpPr>
            <p:cNvPr id="49" name="Elipse 48"/>
            <p:cNvSpPr/>
            <p:nvPr/>
          </p:nvSpPr>
          <p:spPr>
            <a:xfrm>
              <a:off x="1048167" y="4114986"/>
              <a:ext cx="211347" cy="211347"/>
            </a:xfrm>
            <a:prstGeom prst="ellipse">
              <a:avLst/>
            </a:prstGeom>
            <a:solidFill>
              <a:srgbClr val="212B6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/>
            </a:p>
          </p:txBody>
        </p:sp>
        <p:sp>
          <p:nvSpPr>
            <p:cNvPr id="50" name="74 Triángulo isósceles"/>
            <p:cNvSpPr>
              <a:spLocks noChangeAspect="1"/>
            </p:cNvSpPr>
            <p:nvPr>
              <p:custDataLst>
                <p:tags r:id="rId44"/>
              </p:custDataLst>
            </p:nvPr>
          </p:nvSpPr>
          <p:spPr bwMode="ltGray">
            <a:xfrm>
              <a:off x="773560" y="4101372"/>
              <a:ext cx="186228" cy="197873"/>
            </a:xfrm>
            <a:prstGeom prst="triangle">
              <a:avLst/>
            </a:prstGeom>
            <a:ln/>
            <a:effectLst/>
          </p:spPr>
          <p:style>
            <a:lnRef idx="0">
              <a:schemeClr val="accent5"/>
            </a:lnRef>
            <a:fillRef idx="3">
              <a:schemeClr val="accent5"/>
            </a:fillRef>
            <a:effectRef idx="3">
              <a:schemeClr val="accent5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err="1">
                <a:solidFill>
                  <a:schemeClr val="bg1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51" name="Rectángulo redondeado 50"/>
            <p:cNvSpPr/>
            <p:nvPr/>
          </p:nvSpPr>
          <p:spPr>
            <a:xfrm>
              <a:off x="517542" y="4575480"/>
              <a:ext cx="3352906" cy="615264"/>
            </a:xfrm>
            <a:prstGeom prst="roundRect">
              <a:avLst/>
            </a:prstGeom>
            <a:solidFill>
              <a:schemeClr val="bg1"/>
            </a:solidFill>
            <a:ln w="28575">
              <a:solidFill>
                <a:srgbClr val="0FA8D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/>
            </a:p>
          </p:txBody>
        </p:sp>
        <p:sp>
          <p:nvSpPr>
            <p:cNvPr id="52" name="84 CuadroTexto"/>
            <p:cNvSpPr txBox="1">
              <a:spLocks noChangeArrowheads="1"/>
            </p:cNvSpPr>
            <p:nvPr>
              <p:custDataLst>
                <p:tags r:id="rId45"/>
              </p:custDataLst>
            </p:nvPr>
          </p:nvSpPr>
          <p:spPr bwMode="auto">
            <a:xfrm>
              <a:off x="694944" y="4719581"/>
              <a:ext cx="2999232" cy="30210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>
              <a:lvl1pPr indent="-273050" eaLnBrk="0" hangingPunct="0"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1pPr>
              <a:lvl2pPr marL="742950" indent="-285750" eaLnBrk="0" hangingPunct="0"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2pPr>
              <a:lvl3pPr marL="1143000" indent="-228600" eaLnBrk="0" hangingPunct="0"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3pPr>
              <a:lvl4pPr marL="1600200" indent="-228600" eaLnBrk="0" hangingPunct="0"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4pPr>
              <a:lvl5pPr marL="2057400" indent="-228600" eaLnBrk="0" hangingPunct="0"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5pPr>
              <a:lvl6pPr marL="25146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6pPr>
              <a:lvl7pPr marL="29718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7pPr>
              <a:lvl8pPr marL="34290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8pPr>
              <a:lvl9pPr marL="38862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9pPr>
            </a:lstStyle>
            <a:p>
              <a:pPr algn="ctr" eaLnBrk="1" hangingPunct="1"/>
              <a:r>
                <a:rPr lang="es-ES" altLang="es-ES" b="1">
                  <a:solidFill>
                    <a:srgbClr val="0FA8DC"/>
                  </a:solidFill>
                  <a:latin typeface="+mn-lt"/>
                </a:rPr>
                <a:t>Mecanismos de evaluación</a:t>
              </a:r>
              <a:endParaRPr lang="en-US" altLang="es-ES" b="1">
                <a:solidFill>
                  <a:srgbClr val="0FA8DC"/>
                </a:solidFill>
                <a:latin typeface="+mn-lt"/>
              </a:endParaRPr>
            </a:p>
          </p:txBody>
        </p:sp>
        <p:sp>
          <p:nvSpPr>
            <p:cNvPr id="53" name="Rectángulo redondeado 52"/>
            <p:cNvSpPr/>
            <p:nvPr/>
          </p:nvSpPr>
          <p:spPr>
            <a:xfrm>
              <a:off x="523638" y="5267376"/>
              <a:ext cx="3352906" cy="615264"/>
            </a:xfrm>
            <a:prstGeom prst="roundRect">
              <a:avLst/>
            </a:prstGeom>
            <a:solidFill>
              <a:schemeClr val="bg1"/>
            </a:solidFill>
            <a:ln w="28575">
              <a:solidFill>
                <a:srgbClr val="0FA8D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/>
            </a:p>
          </p:txBody>
        </p:sp>
        <p:sp>
          <p:nvSpPr>
            <p:cNvPr id="54" name="84 CuadroTexto"/>
            <p:cNvSpPr txBox="1">
              <a:spLocks noChangeArrowheads="1"/>
            </p:cNvSpPr>
            <p:nvPr>
              <p:custDataLst>
                <p:tags r:id="rId46"/>
              </p:custDataLst>
            </p:nvPr>
          </p:nvSpPr>
          <p:spPr bwMode="auto">
            <a:xfrm>
              <a:off x="701040" y="5422110"/>
              <a:ext cx="2999232" cy="30210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>
              <a:lvl1pPr indent="-273050" eaLnBrk="0" hangingPunct="0"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1pPr>
              <a:lvl2pPr marL="742950" indent="-285750" eaLnBrk="0" hangingPunct="0"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2pPr>
              <a:lvl3pPr marL="1143000" indent="-228600" eaLnBrk="0" hangingPunct="0"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3pPr>
              <a:lvl4pPr marL="1600200" indent="-228600" eaLnBrk="0" hangingPunct="0"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4pPr>
              <a:lvl5pPr marL="2057400" indent="-228600" eaLnBrk="0" hangingPunct="0"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5pPr>
              <a:lvl6pPr marL="25146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6pPr>
              <a:lvl7pPr marL="29718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7pPr>
              <a:lvl8pPr marL="34290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8pPr>
              <a:lvl9pPr marL="38862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9pPr>
            </a:lstStyle>
            <a:p>
              <a:pPr algn="ctr" eaLnBrk="1" hangingPunct="1"/>
              <a:r>
                <a:rPr lang="es-ES" altLang="es-ES" b="1">
                  <a:solidFill>
                    <a:srgbClr val="0FA8DC"/>
                  </a:solidFill>
                  <a:latin typeface="+mn-lt"/>
                </a:rPr>
                <a:t>Indicadores de seguimiento</a:t>
              </a:r>
              <a:endParaRPr lang="en-US" altLang="es-ES" b="1">
                <a:solidFill>
                  <a:srgbClr val="0FA8DC"/>
                </a:solidFill>
                <a:latin typeface="+mn-lt"/>
              </a:endParaRPr>
            </a:p>
          </p:txBody>
        </p:sp>
        <p:sp>
          <p:nvSpPr>
            <p:cNvPr id="55" name="Rectángulo redondeado 54"/>
            <p:cNvSpPr/>
            <p:nvPr/>
          </p:nvSpPr>
          <p:spPr>
            <a:xfrm>
              <a:off x="5683902" y="1539672"/>
              <a:ext cx="3688698" cy="1057224"/>
            </a:xfrm>
            <a:prstGeom prst="roundRect">
              <a:avLst/>
            </a:prstGeom>
            <a:solidFill>
              <a:schemeClr val="bg1"/>
            </a:solidFill>
            <a:ln w="28575">
              <a:solidFill>
                <a:srgbClr val="212B6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/>
            </a:p>
          </p:txBody>
        </p:sp>
        <p:sp>
          <p:nvSpPr>
            <p:cNvPr id="56" name="Rectángulo redondeado 55"/>
            <p:cNvSpPr/>
            <p:nvPr/>
          </p:nvSpPr>
          <p:spPr>
            <a:xfrm>
              <a:off x="5190539" y="1056854"/>
              <a:ext cx="3721813" cy="668314"/>
            </a:xfrm>
            <a:prstGeom prst="roundRect">
              <a:avLst/>
            </a:prstGeom>
            <a:solidFill>
              <a:srgbClr val="212B6C"/>
            </a:solidFill>
            <a:ln>
              <a:solidFill>
                <a:srgbClr val="212B6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/>
            </a:p>
          </p:txBody>
        </p:sp>
        <p:sp>
          <p:nvSpPr>
            <p:cNvPr id="57" name="Rectángulo 56"/>
            <p:cNvSpPr/>
            <p:nvPr/>
          </p:nvSpPr>
          <p:spPr>
            <a:xfrm>
              <a:off x="5298534" y="957624"/>
              <a:ext cx="3504090" cy="839702"/>
            </a:xfrm>
            <a:prstGeom prst="rect">
              <a:avLst/>
            </a:prstGeom>
            <a:no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>
              <a:lvl1pPr eaLnBrk="0" hangingPunct="0"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1pPr>
              <a:lvl2pPr marL="742950" indent="-285750" eaLnBrk="0" hangingPunct="0"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2pPr>
              <a:lvl3pPr marL="1143000" indent="-228600" eaLnBrk="0" hangingPunct="0"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3pPr>
              <a:lvl4pPr marL="1600200" indent="-228600" eaLnBrk="0" hangingPunct="0"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4pPr>
              <a:lvl5pPr marL="2057400" indent="-228600" eaLnBrk="0" hangingPunct="0"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5pPr>
              <a:lvl6pPr marL="25146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6pPr>
              <a:lvl7pPr marL="29718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7pPr>
              <a:lvl8pPr marL="34290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8pPr>
              <a:lvl9pPr marL="38862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9pPr>
            </a:lstStyle>
            <a:p>
              <a:pPr algn="ctr" eaLnBrk="1" hangingPunct="1"/>
              <a:r>
                <a:rPr lang="es-ES" altLang="es-ES" sz="1400" b="1">
                  <a:solidFill>
                    <a:schemeClr val="bg1"/>
                  </a:solidFill>
                  <a:latin typeface="+mn-lt"/>
                </a:rPr>
                <a:t>Definición de hitos y puntos de control</a:t>
              </a:r>
              <a:endParaRPr lang="en-US" altLang="es-ES" sz="1400" b="1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58" name="93 Rectángulo"/>
            <p:cNvSpPr/>
            <p:nvPr/>
          </p:nvSpPr>
          <p:spPr bwMode="ltGray">
            <a:xfrm>
              <a:off x="5894364" y="1845696"/>
              <a:ext cx="3359364" cy="533400"/>
            </a:xfrm>
            <a:prstGeom prst="rect">
              <a:avLst/>
            </a:prstGeom>
            <a:solidFill>
              <a:schemeClr val="bg1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/>
            <a:lstStyle>
              <a:lvl1pPr marL="171450" indent="-171450" eaLnBrk="0" hangingPunct="0"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1pPr>
              <a:lvl2pPr marL="742950" indent="-285750" eaLnBrk="0" hangingPunct="0"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2pPr>
              <a:lvl3pPr marL="1143000" indent="-228600" eaLnBrk="0" hangingPunct="0"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3pPr>
              <a:lvl4pPr marL="1600200" indent="-228600" eaLnBrk="0" hangingPunct="0"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4pPr>
              <a:lvl5pPr marL="2057400" indent="-228600" eaLnBrk="0" hangingPunct="0"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5pPr>
              <a:lvl6pPr marL="25146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6pPr>
              <a:lvl7pPr marL="29718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7pPr>
              <a:lvl8pPr marL="34290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8pPr>
              <a:lvl9pPr marL="38862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9pPr>
            </a:lstStyle>
            <a:p>
              <a:pPr marL="0" indent="0" algn="l" eaLnBrk="1" hangingPunct="1">
                <a:spcAft>
                  <a:spcPts val="600"/>
                </a:spcAft>
              </a:pPr>
              <a:r>
                <a:rPr lang="es-ES" altLang="es-ES" sz="1400">
                  <a:solidFill>
                    <a:srgbClr val="212B6C"/>
                  </a:solidFill>
                  <a:latin typeface="+mn-lt"/>
                </a:rPr>
                <a:t>¿Cuándo esperamos tener resultados?</a:t>
              </a:r>
            </a:p>
            <a:p>
              <a:pPr marL="0" indent="0" algn="l" eaLnBrk="1" hangingPunct="1">
                <a:spcAft>
                  <a:spcPts val="600"/>
                </a:spcAft>
              </a:pPr>
              <a:r>
                <a:rPr lang="es-ES" altLang="es-ES" sz="1400">
                  <a:solidFill>
                    <a:srgbClr val="212B6C"/>
                  </a:solidFill>
                  <a:latin typeface="+mn-lt"/>
                </a:rPr>
                <a:t>¿Cuándo vamos a evaluar resultados?</a:t>
              </a:r>
              <a:endParaRPr lang="en-US" altLang="es-ES" sz="1400">
                <a:solidFill>
                  <a:srgbClr val="212B6C"/>
                </a:solidFill>
                <a:latin typeface="+mn-lt"/>
              </a:endParaRPr>
            </a:p>
          </p:txBody>
        </p:sp>
        <p:sp>
          <p:nvSpPr>
            <p:cNvPr id="59" name="Rectángulo redondeado 58"/>
            <p:cNvSpPr/>
            <p:nvPr/>
          </p:nvSpPr>
          <p:spPr>
            <a:xfrm>
              <a:off x="5689998" y="3191688"/>
              <a:ext cx="3688698" cy="1057224"/>
            </a:xfrm>
            <a:prstGeom prst="roundRect">
              <a:avLst/>
            </a:prstGeom>
            <a:solidFill>
              <a:schemeClr val="bg1"/>
            </a:solidFill>
            <a:ln w="28575">
              <a:solidFill>
                <a:srgbClr val="212B6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/>
            </a:p>
          </p:txBody>
        </p:sp>
        <p:sp>
          <p:nvSpPr>
            <p:cNvPr id="60" name="Rectángulo redondeado 59"/>
            <p:cNvSpPr/>
            <p:nvPr/>
          </p:nvSpPr>
          <p:spPr>
            <a:xfrm>
              <a:off x="5653422" y="4837608"/>
              <a:ext cx="3688698" cy="1057224"/>
            </a:xfrm>
            <a:prstGeom prst="roundRect">
              <a:avLst/>
            </a:prstGeom>
            <a:solidFill>
              <a:schemeClr val="bg1"/>
            </a:solidFill>
            <a:ln w="28575">
              <a:solidFill>
                <a:srgbClr val="212B6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/>
            </a:p>
          </p:txBody>
        </p:sp>
        <p:sp>
          <p:nvSpPr>
            <p:cNvPr id="61" name="Rectángulo redondeado 60"/>
            <p:cNvSpPr/>
            <p:nvPr/>
          </p:nvSpPr>
          <p:spPr>
            <a:xfrm>
              <a:off x="5160059" y="4354790"/>
              <a:ext cx="3721813" cy="668314"/>
            </a:xfrm>
            <a:prstGeom prst="roundRect">
              <a:avLst/>
            </a:prstGeom>
            <a:solidFill>
              <a:srgbClr val="212B6C"/>
            </a:solidFill>
            <a:ln>
              <a:solidFill>
                <a:srgbClr val="212B6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/>
            </a:p>
          </p:txBody>
        </p:sp>
        <p:sp>
          <p:nvSpPr>
            <p:cNvPr id="62" name="Rectángulo 61"/>
            <p:cNvSpPr/>
            <p:nvPr/>
          </p:nvSpPr>
          <p:spPr>
            <a:xfrm>
              <a:off x="5268054" y="4255560"/>
              <a:ext cx="3504090" cy="839702"/>
            </a:xfrm>
            <a:prstGeom prst="rect">
              <a:avLst/>
            </a:prstGeom>
            <a:no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>
              <a:lvl1pPr eaLnBrk="0" hangingPunct="0"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1pPr>
              <a:lvl2pPr marL="742950" indent="-285750" eaLnBrk="0" hangingPunct="0"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2pPr>
              <a:lvl3pPr marL="1143000" indent="-228600" eaLnBrk="0" hangingPunct="0"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3pPr>
              <a:lvl4pPr marL="1600200" indent="-228600" eaLnBrk="0" hangingPunct="0"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4pPr>
              <a:lvl5pPr marL="2057400" indent="-228600" eaLnBrk="0" hangingPunct="0"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5pPr>
              <a:lvl6pPr marL="25146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6pPr>
              <a:lvl7pPr marL="29718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7pPr>
              <a:lvl8pPr marL="34290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8pPr>
              <a:lvl9pPr marL="38862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9pPr>
            </a:lstStyle>
            <a:p>
              <a:pPr eaLnBrk="1" hangingPunct="1"/>
              <a:r>
                <a:rPr lang="es-ES" altLang="es-ES" sz="1400" b="1">
                  <a:solidFill>
                    <a:schemeClr val="bg1"/>
                  </a:solidFill>
                  <a:latin typeface="+mn-lt"/>
                </a:rPr>
                <a:t>Indicadores de seguimiento</a:t>
              </a:r>
              <a:endParaRPr lang="en-US" altLang="es-ES" sz="1400" b="1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63" name="Rectángulo 62"/>
            <p:cNvSpPr/>
            <p:nvPr/>
          </p:nvSpPr>
          <p:spPr>
            <a:xfrm>
              <a:off x="5814060" y="3451967"/>
              <a:ext cx="3457956" cy="73866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s-ES" altLang="es-ES" sz="1400">
                  <a:solidFill>
                    <a:srgbClr val="212B6C"/>
                  </a:solidFill>
                </a:rPr>
                <a:t>Aprovechando estructuras y procesos establecidos en el hospital evitando sobrecarga adicional de trabajo</a:t>
              </a:r>
              <a:endParaRPr lang="en-US" altLang="es-ES" sz="1400">
                <a:solidFill>
                  <a:srgbClr val="212B6C"/>
                </a:solidFill>
              </a:endParaRPr>
            </a:p>
          </p:txBody>
        </p:sp>
        <p:sp>
          <p:nvSpPr>
            <p:cNvPr id="64" name="Rectángulo 63"/>
            <p:cNvSpPr/>
            <p:nvPr/>
          </p:nvSpPr>
          <p:spPr>
            <a:xfrm>
              <a:off x="5838444" y="5184649"/>
              <a:ext cx="3305556" cy="52322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s-ES" altLang="es-ES" sz="1400">
                  <a:solidFill>
                    <a:srgbClr val="212B6C"/>
                  </a:solidFill>
                </a:rPr>
                <a:t>Indicadores realistas, fáciles de medir en base a disponibilidad de información</a:t>
              </a:r>
              <a:endParaRPr lang="en-US" altLang="es-ES" sz="1400">
                <a:solidFill>
                  <a:srgbClr val="212B6C"/>
                </a:solidFill>
              </a:endParaRPr>
            </a:p>
          </p:txBody>
        </p:sp>
        <p:pic>
          <p:nvPicPr>
            <p:cNvPr id="65" name="Imagen 64"/>
            <p:cNvPicPr>
              <a:picLocks noChangeAspect="1"/>
            </p:cNvPicPr>
            <p:nvPr/>
          </p:nvPicPr>
          <p:blipFill>
            <a:blip r:embed="rId4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rot="18804704">
              <a:off x="3386835" y="2570106"/>
              <a:ext cx="2616557" cy="866474"/>
            </a:xfrm>
            <a:prstGeom prst="rect">
              <a:avLst/>
            </a:prstGeom>
          </p:spPr>
        </p:pic>
        <p:pic>
          <p:nvPicPr>
            <p:cNvPr id="66" name="Imagen 65"/>
            <p:cNvPicPr>
              <a:picLocks noChangeAspect="1"/>
            </p:cNvPicPr>
            <p:nvPr/>
          </p:nvPicPr>
          <p:blipFill>
            <a:blip r:embed="rId4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rot="19902341">
              <a:off x="3705430" y="3903521"/>
              <a:ext cx="2120690" cy="659744"/>
            </a:xfrm>
            <a:prstGeom prst="rect">
              <a:avLst/>
            </a:prstGeom>
          </p:spPr>
        </p:pic>
        <p:pic>
          <p:nvPicPr>
            <p:cNvPr id="67" name="Imagen 66"/>
            <p:cNvPicPr>
              <a:picLocks noChangeAspect="1"/>
            </p:cNvPicPr>
            <p:nvPr/>
          </p:nvPicPr>
          <p:blipFill>
            <a:blip r:embed="rId4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rot="333000">
              <a:off x="4032504" y="5068990"/>
              <a:ext cx="1508761" cy="659744"/>
            </a:xfrm>
            <a:prstGeom prst="rect">
              <a:avLst/>
            </a:prstGeom>
          </p:spPr>
        </p:pic>
        <p:sp>
          <p:nvSpPr>
            <p:cNvPr id="68" name="Rectángulo redondeado 67"/>
            <p:cNvSpPr/>
            <p:nvPr/>
          </p:nvSpPr>
          <p:spPr>
            <a:xfrm>
              <a:off x="5196635" y="2708870"/>
              <a:ext cx="3721813" cy="668314"/>
            </a:xfrm>
            <a:prstGeom prst="roundRect">
              <a:avLst/>
            </a:prstGeom>
            <a:solidFill>
              <a:srgbClr val="212B6C"/>
            </a:solidFill>
            <a:ln>
              <a:solidFill>
                <a:srgbClr val="212B6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/>
            </a:p>
          </p:txBody>
        </p:sp>
        <p:sp>
          <p:nvSpPr>
            <p:cNvPr id="69" name="Rectángulo 68"/>
            <p:cNvSpPr/>
            <p:nvPr/>
          </p:nvSpPr>
          <p:spPr>
            <a:xfrm>
              <a:off x="5304630" y="2609640"/>
              <a:ext cx="3504090" cy="839702"/>
            </a:xfrm>
            <a:prstGeom prst="rect">
              <a:avLst/>
            </a:prstGeom>
            <a:no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>
              <a:lvl1pPr eaLnBrk="0" hangingPunct="0"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1pPr>
              <a:lvl2pPr marL="742950" indent="-285750" eaLnBrk="0" hangingPunct="0"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2pPr>
              <a:lvl3pPr marL="1143000" indent="-228600" eaLnBrk="0" hangingPunct="0"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3pPr>
              <a:lvl4pPr marL="1600200" indent="-228600" eaLnBrk="0" hangingPunct="0"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4pPr>
              <a:lvl5pPr marL="2057400" indent="-228600" eaLnBrk="0" hangingPunct="0"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5pPr>
              <a:lvl6pPr marL="25146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6pPr>
              <a:lvl7pPr marL="29718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7pPr>
              <a:lvl8pPr marL="34290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8pPr>
              <a:lvl9pPr marL="38862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9pPr>
            </a:lstStyle>
            <a:p>
              <a:pPr eaLnBrk="1" hangingPunct="1"/>
              <a:r>
                <a:rPr lang="es-ES" altLang="es-ES" sz="1400" b="1">
                  <a:solidFill>
                    <a:schemeClr val="bg1"/>
                  </a:solidFill>
                  <a:latin typeface="+mn-lt"/>
                </a:rPr>
                <a:t>Definición de los mecanismos de evaluación de cada Plan de Actuación</a:t>
              </a:r>
              <a:endParaRPr lang="en-US" altLang="es-ES" sz="1400" b="1">
                <a:solidFill>
                  <a:schemeClr val="bg1"/>
                </a:solidFill>
                <a:latin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9430299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n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7390985" y="843832"/>
            <a:ext cx="2099080" cy="2392814"/>
          </a:xfrm>
          <a:prstGeom prst="rect">
            <a:avLst/>
          </a:prstGeom>
          <a:ln>
            <a:noFill/>
          </a:ln>
        </p:spPr>
      </p:pic>
      <p:pic>
        <p:nvPicPr>
          <p:cNvPr id="3" name="Imagen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231988" y="2136556"/>
            <a:ext cx="2155206" cy="2222848"/>
          </a:xfrm>
          <a:prstGeom prst="rect">
            <a:avLst/>
          </a:prstGeom>
        </p:spPr>
      </p:pic>
      <p:sp>
        <p:nvSpPr>
          <p:cNvPr id="4" name="CuadroTexto 3"/>
          <p:cNvSpPr txBox="1"/>
          <p:nvPr/>
        </p:nvSpPr>
        <p:spPr>
          <a:xfrm>
            <a:off x="386634" y="2399027"/>
            <a:ext cx="1767407" cy="1600438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s-ES" sz="1400" b="1">
                <a:solidFill>
                  <a:srgbClr val="0FA8DC"/>
                </a:solidFill>
                <a:ea typeface="+mn-ea"/>
              </a:rPr>
              <a:t>2015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s-ES" sz="1400">
                <a:solidFill>
                  <a:srgbClr val="0FA8DC"/>
                </a:solidFill>
                <a:ea typeface="+mn-ea"/>
              </a:rPr>
              <a:t>Inicio del Plan Estratégico. 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s-ES" sz="1400">
              <a:solidFill>
                <a:srgbClr val="0FA8DC"/>
              </a:solidFill>
              <a:ea typeface="+mn-ea"/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s-ES" sz="1400">
                <a:solidFill>
                  <a:srgbClr val="0FA8DC"/>
                </a:solidFill>
                <a:ea typeface="+mn-ea"/>
              </a:rPr>
              <a:t>Definición de los Planes de Acción 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s-ES" sz="1400">
              <a:solidFill>
                <a:srgbClr val="0FA8DC"/>
              </a:solidFill>
              <a:ea typeface="+mn-ea"/>
            </a:endParaRPr>
          </a:p>
        </p:txBody>
      </p:sp>
      <p:grpSp>
        <p:nvGrpSpPr>
          <p:cNvPr id="17" name="Grupo 16"/>
          <p:cNvGrpSpPr/>
          <p:nvPr/>
        </p:nvGrpSpPr>
        <p:grpSpPr>
          <a:xfrm>
            <a:off x="3848410" y="1739710"/>
            <a:ext cx="2361173" cy="2256529"/>
            <a:chOff x="3778370" y="1619499"/>
            <a:chExt cx="2442679" cy="2371830"/>
          </a:xfrm>
        </p:grpSpPr>
        <p:pic>
          <p:nvPicPr>
            <p:cNvPr id="5" name="Imagen 4"/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rot="5400000">
              <a:off x="3813795" y="1584074"/>
              <a:ext cx="2371830" cy="2442679"/>
            </a:xfrm>
            <a:prstGeom prst="rect">
              <a:avLst/>
            </a:prstGeom>
          </p:spPr>
        </p:pic>
        <p:sp>
          <p:nvSpPr>
            <p:cNvPr id="6" name="CuadroTexto 5"/>
            <p:cNvSpPr txBox="1"/>
            <p:nvPr/>
          </p:nvSpPr>
          <p:spPr>
            <a:xfrm>
              <a:off x="3992543" y="1771812"/>
              <a:ext cx="2014333" cy="1714566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r>
                <a:rPr lang="es-ES" sz="1400" b="1">
                  <a:solidFill>
                    <a:srgbClr val="0FA8DC"/>
                  </a:solidFill>
                </a:rPr>
                <a:t>Junio 2017</a:t>
              </a:r>
            </a:p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r>
                <a:rPr lang="es-ES" sz="1400">
                  <a:solidFill>
                    <a:srgbClr val="0FA8DC"/>
                  </a:solidFill>
                </a:rPr>
                <a:t>Evaluación de la primera mitad del Plan Estratégico.</a:t>
              </a:r>
            </a:p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es-ES" sz="1400">
                <a:solidFill>
                  <a:srgbClr val="0FA8DC"/>
                </a:solidFill>
              </a:endParaRPr>
            </a:p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r>
                <a:rPr lang="es-ES" sz="1400">
                  <a:solidFill>
                    <a:srgbClr val="0FA8DC"/>
                  </a:solidFill>
                </a:rPr>
                <a:t>Reformulación del Plan hasta 2019</a:t>
              </a:r>
              <a:r>
                <a:rPr lang="es-ES" sz="1600">
                  <a:solidFill>
                    <a:srgbClr val="0FA8DC"/>
                  </a:solidFill>
                </a:rPr>
                <a:t>.</a:t>
              </a:r>
            </a:p>
          </p:txBody>
        </p:sp>
      </p:grpSp>
      <p:sp>
        <p:nvSpPr>
          <p:cNvPr id="7" name="CuadroTexto 6"/>
          <p:cNvSpPr txBox="1"/>
          <p:nvPr/>
        </p:nvSpPr>
        <p:spPr>
          <a:xfrm>
            <a:off x="7223760" y="1144997"/>
            <a:ext cx="2282951" cy="1323439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s-ES" sz="1600" b="1">
                <a:solidFill>
                  <a:srgbClr val="0FA8DC"/>
                </a:solidFill>
                <a:ea typeface="+mn-ea"/>
              </a:rPr>
              <a:t>2019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s-ES" sz="1600">
                <a:solidFill>
                  <a:srgbClr val="0FA8DC"/>
                </a:solidFill>
                <a:ea typeface="+mn-ea"/>
              </a:rPr>
              <a:t>Cierre del Plan Estratégico. Evaluación global del Plan Estratégico </a:t>
            </a:r>
          </a:p>
        </p:txBody>
      </p:sp>
      <p:pic>
        <p:nvPicPr>
          <p:cNvPr id="8" name="Imagen 7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1337" y="2940429"/>
            <a:ext cx="8220892" cy="1713480"/>
          </a:xfrm>
          <a:prstGeom prst="rect">
            <a:avLst/>
          </a:prstGeom>
        </p:spPr>
      </p:pic>
      <p:sp>
        <p:nvSpPr>
          <p:cNvPr id="9" name="CuadroTexto 76"/>
          <p:cNvSpPr txBox="1">
            <a:spLocks noChangeArrowheads="1"/>
          </p:cNvSpPr>
          <p:nvPr/>
        </p:nvSpPr>
        <p:spPr bwMode="auto">
          <a:xfrm>
            <a:off x="798790" y="5503838"/>
            <a:ext cx="1368337" cy="4325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algn="r">
              <a:defRPr sz="2800">
                <a:solidFill>
                  <a:srgbClr val="000099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1pPr>
            <a:lvl2pPr marL="742950" indent="-285750" algn="r">
              <a:defRPr sz="2800">
                <a:solidFill>
                  <a:srgbClr val="000099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2pPr>
            <a:lvl3pPr marL="1143000" indent="-228600" algn="r">
              <a:defRPr sz="2800">
                <a:solidFill>
                  <a:srgbClr val="000099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3pPr>
            <a:lvl4pPr marL="1600200" indent="-228600" algn="r">
              <a:defRPr sz="2800">
                <a:solidFill>
                  <a:srgbClr val="000099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4pPr>
            <a:lvl5pPr marL="2057400" indent="-228600" algn="r">
              <a:defRPr sz="2800">
                <a:solidFill>
                  <a:srgbClr val="000099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5pPr>
            <a:lvl6pPr marL="2514600" indent="-228600" algn="r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99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6pPr>
            <a:lvl7pPr marL="2971800" indent="-228600" algn="r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99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7pPr>
            <a:lvl8pPr marL="3429000" indent="-228600" algn="r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99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8pPr>
            <a:lvl9pPr marL="3886200" indent="-228600" algn="r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99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9pPr>
          </a:lstStyle>
          <a:p>
            <a:pPr algn="ctr"/>
            <a:r>
              <a:rPr lang="es-ES" altLang="es-ES" sz="3600" b="1">
                <a:solidFill>
                  <a:srgbClr val="212B6C"/>
                </a:solidFill>
                <a:latin typeface="+mn-lt"/>
              </a:rPr>
              <a:t>2015</a:t>
            </a:r>
            <a:endParaRPr lang="es-ES" altLang="es-ES" sz="3600">
              <a:solidFill>
                <a:srgbClr val="212B6C"/>
              </a:solidFill>
              <a:latin typeface="+mn-lt"/>
            </a:endParaRPr>
          </a:p>
        </p:txBody>
      </p:sp>
      <p:pic>
        <p:nvPicPr>
          <p:cNvPr id="12" name="Imagen 1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573493">
            <a:off x="5419506" y="4041919"/>
            <a:ext cx="1916250" cy="2089562"/>
          </a:xfrm>
          <a:prstGeom prst="rect">
            <a:avLst/>
          </a:prstGeom>
        </p:spPr>
      </p:pic>
      <p:sp>
        <p:nvSpPr>
          <p:cNvPr id="13" name="CuadroTexto 30"/>
          <p:cNvSpPr txBox="1"/>
          <p:nvPr/>
        </p:nvSpPr>
        <p:spPr>
          <a:xfrm>
            <a:off x="5465083" y="4716554"/>
            <a:ext cx="1825096" cy="95410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s-ES" sz="1400" b="1">
                <a:solidFill>
                  <a:srgbClr val="0FA8DC"/>
                </a:solidFill>
                <a:ea typeface="+mn-ea"/>
              </a:rPr>
              <a:t>2018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s-ES" sz="1400">
                <a:solidFill>
                  <a:srgbClr val="0FA8DC"/>
                </a:solidFill>
                <a:ea typeface="+mn-ea"/>
              </a:rPr>
              <a:t>Evaluación del grado de desarrollo 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s-ES" sz="1400">
                <a:solidFill>
                  <a:srgbClr val="0FA8DC"/>
                </a:solidFill>
                <a:ea typeface="+mn-ea"/>
              </a:rPr>
              <a:t>2015-2017</a:t>
            </a:r>
          </a:p>
        </p:txBody>
      </p:sp>
      <p:sp>
        <p:nvSpPr>
          <p:cNvPr id="15" name="Rectangle 2"/>
          <p:cNvSpPr txBox="1">
            <a:spLocks/>
          </p:cNvSpPr>
          <p:nvPr/>
        </p:nvSpPr>
        <p:spPr>
          <a:xfrm>
            <a:off x="295135" y="280021"/>
            <a:ext cx="6756454" cy="271914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ES" altLang="es-ES" sz="2400" b="1">
                <a:solidFill>
                  <a:srgbClr val="0FA8DC"/>
                </a:solidFill>
                <a:latin typeface="+mn-lt"/>
              </a:rPr>
              <a:t>Ejecución del Plan Estratégico H12O</a:t>
            </a:r>
          </a:p>
        </p:txBody>
      </p:sp>
    </p:spTree>
    <p:extLst>
      <p:ext uri="{BB962C8B-B14F-4D97-AF65-F5344CB8AC3E}">
        <p14:creationId xmlns:p14="http://schemas.microsoft.com/office/powerpoint/2010/main" val="39386572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2"/>
          <p:cNvSpPr txBox="1">
            <a:spLocks/>
          </p:cNvSpPr>
          <p:nvPr/>
        </p:nvSpPr>
        <p:spPr>
          <a:xfrm>
            <a:off x="295135" y="280021"/>
            <a:ext cx="6756454" cy="271914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ES" altLang="es-ES" sz="2400" b="1">
                <a:solidFill>
                  <a:schemeClr val="accent6"/>
                </a:solidFill>
                <a:latin typeface="+mn-lt"/>
              </a:rPr>
              <a:t>Plan estratégico y EFQM</a:t>
            </a:r>
            <a:endParaRPr lang="es-ES" altLang="es-ES" sz="2400">
              <a:solidFill>
                <a:schemeClr val="accent6"/>
              </a:solidFill>
              <a:latin typeface="+mn-lt"/>
            </a:endParaRPr>
          </a:p>
        </p:txBody>
      </p:sp>
      <p:grpSp>
        <p:nvGrpSpPr>
          <p:cNvPr id="35" name="Grupo 34"/>
          <p:cNvGrpSpPr/>
          <p:nvPr/>
        </p:nvGrpSpPr>
        <p:grpSpPr>
          <a:xfrm>
            <a:off x="972766" y="1054131"/>
            <a:ext cx="8152954" cy="4929047"/>
            <a:chOff x="972766" y="1054131"/>
            <a:chExt cx="8152954" cy="4929047"/>
          </a:xfrm>
        </p:grpSpPr>
        <p:sp>
          <p:nvSpPr>
            <p:cNvPr id="18" name="Rectángulo redondeado 17"/>
            <p:cNvSpPr/>
            <p:nvPr/>
          </p:nvSpPr>
          <p:spPr>
            <a:xfrm>
              <a:off x="5826740" y="1629711"/>
              <a:ext cx="2353435" cy="728859"/>
            </a:xfrm>
            <a:prstGeom prst="roundRect">
              <a:avLst/>
            </a:prstGeom>
            <a:solidFill>
              <a:schemeClr val="bg1"/>
            </a:solidFill>
            <a:ln w="28575">
              <a:solidFill>
                <a:srgbClr val="0FA8D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sz="2000"/>
            </a:p>
          </p:txBody>
        </p:sp>
        <p:sp>
          <p:nvSpPr>
            <p:cNvPr id="19" name="Rectángulo 18"/>
            <p:cNvSpPr/>
            <p:nvPr/>
          </p:nvSpPr>
          <p:spPr>
            <a:xfrm>
              <a:off x="5758250" y="1640209"/>
              <a:ext cx="2496065" cy="711623"/>
            </a:xfrm>
            <a:prstGeom prst="rect">
              <a:avLst/>
            </a:prstGeom>
            <a:no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>
              <a:lvl1pPr eaLnBrk="0" hangingPunct="0"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1pPr>
              <a:lvl2pPr marL="742950" indent="-285750" eaLnBrk="0" hangingPunct="0"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2pPr>
              <a:lvl3pPr marL="1143000" indent="-228600" eaLnBrk="0" hangingPunct="0"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3pPr>
              <a:lvl4pPr marL="1600200" indent="-228600" eaLnBrk="0" hangingPunct="0"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4pPr>
              <a:lvl5pPr marL="2057400" indent="-228600" eaLnBrk="0" hangingPunct="0"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5pPr>
              <a:lvl6pPr marL="25146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6pPr>
              <a:lvl7pPr marL="29718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7pPr>
              <a:lvl8pPr marL="34290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8pPr>
              <a:lvl9pPr marL="38862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9pPr>
            </a:lstStyle>
            <a:p>
              <a:pPr algn="ctr" eaLnBrk="1" hangingPunct="1"/>
              <a:r>
                <a:rPr lang="es-ES" altLang="es-ES" sz="2000">
                  <a:solidFill>
                    <a:schemeClr val="accent6"/>
                  </a:solidFill>
                  <a:latin typeface="+mn-lt"/>
                </a:rPr>
                <a:t>Plan estratégico</a:t>
              </a:r>
            </a:p>
          </p:txBody>
        </p:sp>
        <p:sp>
          <p:nvSpPr>
            <p:cNvPr id="20" name="Rectángulo 19"/>
            <p:cNvSpPr/>
            <p:nvPr/>
          </p:nvSpPr>
          <p:spPr>
            <a:xfrm>
              <a:off x="972766" y="1054131"/>
              <a:ext cx="8152954" cy="43088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s-ES" altLang="es-ES" sz="2200" b="1">
                  <a:solidFill>
                    <a:srgbClr val="212B6C"/>
                  </a:solidFill>
                </a:rPr>
                <a:t>Alinear las áreas de mejora, EFQM con el Plan Estratégico</a:t>
              </a:r>
              <a:endParaRPr lang="es-ES_tradnl" sz="2200">
                <a:solidFill>
                  <a:srgbClr val="212B6C"/>
                </a:solidFill>
              </a:endParaRPr>
            </a:p>
          </p:txBody>
        </p:sp>
        <p:pic>
          <p:nvPicPr>
            <p:cNvPr id="21" name="Imagen 20"/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rot="16200000">
              <a:off x="6797427" y="2402445"/>
              <a:ext cx="345646" cy="352491"/>
            </a:xfrm>
            <a:prstGeom prst="rect">
              <a:avLst/>
            </a:prstGeom>
          </p:spPr>
        </p:pic>
        <p:sp>
          <p:nvSpPr>
            <p:cNvPr id="22" name="Rectángulo redondeado 21"/>
            <p:cNvSpPr/>
            <p:nvPr/>
          </p:nvSpPr>
          <p:spPr>
            <a:xfrm>
              <a:off x="5830859" y="2795365"/>
              <a:ext cx="2353435" cy="728859"/>
            </a:xfrm>
            <a:prstGeom prst="roundRect">
              <a:avLst/>
            </a:prstGeom>
            <a:solidFill>
              <a:schemeClr val="bg1"/>
            </a:solidFill>
            <a:ln w="28575">
              <a:solidFill>
                <a:srgbClr val="0FA8D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sz="2000"/>
            </a:p>
          </p:txBody>
        </p:sp>
        <p:sp>
          <p:nvSpPr>
            <p:cNvPr id="23" name="Rectángulo 22"/>
            <p:cNvSpPr/>
            <p:nvPr/>
          </p:nvSpPr>
          <p:spPr>
            <a:xfrm>
              <a:off x="5762369" y="2805863"/>
              <a:ext cx="2496065" cy="711623"/>
            </a:xfrm>
            <a:prstGeom prst="rect">
              <a:avLst/>
            </a:prstGeom>
            <a:no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>
              <a:lvl1pPr eaLnBrk="0" hangingPunct="0"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1pPr>
              <a:lvl2pPr marL="742950" indent="-285750" eaLnBrk="0" hangingPunct="0"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2pPr>
              <a:lvl3pPr marL="1143000" indent="-228600" eaLnBrk="0" hangingPunct="0"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3pPr>
              <a:lvl4pPr marL="1600200" indent="-228600" eaLnBrk="0" hangingPunct="0"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4pPr>
              <a:lvl5pPr marL="2057400" indent="-228600" eaLnBrk="0" hangingPunct="0"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5pPr>
              <a:lvl6pPr marL="25146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6pPr>
              <a:lvl7pPr marL="29718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7pPr>
              <a:lvl8pPr marL="34290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8pPr>
              <a:lvl9pPr marL="38862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9pPr>
            </a:lstStyle>
            <a:p>
              <a:pPr algn="ctr" eaLnBrk="1" hangingPunct="1"/>
              <a:r>
                <a:rPr lang="es-ES" altLang="es-ES" sz="2000">
                  <a:solidFill>
                    <a:schemeClr val="accent6"/>
                  </a:solidFill>
                  <a:latin typeface="+mn-lt"/>
                </a:rPr>
                <a:t>Plan estratégico</a:t>
              </a:r>
            </a:p>
          </p:txBody>
        </p:sp>
        <p:sp>
          <p:nvSpPr>
            <p:cNvPr id="24" name="Rectángulo redondeado 23"/>
            <p:cNvSpPr/>
            <p:nvPr/>
          </p:nvSpPr>
          <p:spPr>
            <a:xfrm>
              <a:off x="5855573" y="3973376"/>
              <a:ext cx="2353435" cy="728859"/>
            </a:xfrm>
            <a:prstGeom prst="roundRect">
              <a:avLst/>
            </a:prstGeom>
            <a:solidFill>
              <a:schemeClr val="bg1"/>
            </a:solidFill>
            <a:ln w="28575">
              <a:solidFill>
                <a:srgbClr val="0FA8D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sz="2000"/>
            </a:p>
          </p:txBody>
        </p:sp>
        <p:sp>
          <p:nvSpPr>
            <p:cNvPr id="25" name="Rectángulo 24"/>
            <p:cNvSpPr/>
            <p:nvPr/>
          </p:nvSpPr>
          <p:spPr>
            <a:xfrm>
              <a:off x="5787083" y="3983874"/>
              <a:ext cx="2496065" cy="711623"/>
            </a:xfrm>
            <a:prstGeom prst="rect">
              <a:avLst/>
            </a:prstGeom>
            <a:no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>
              <a:lvl1pPr eaLnBrk="0" hangingPunct="0"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1pPr>
              <a:lvl2pPr marL="742950" indent="-285750" eaLnBrk="0" hangingPunct="0"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2pPr>
              <a:lvl3pPr marL="1143000" indent="-228600" eaLnBrk="0" hangingPunct="0"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3pPr>
              <a:lvl4pPr marL="1600200" indent="-228600" eaLnBrk="0" hangingPunct="0"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4pPr>
              <a:lvl5pPr marL="2057400" indent="-228600" eaLnBrk="0" hangingPunct="0"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5pPr>
              <a:lvl6pPr marL="25146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6pPr>
              <a:lvl7pPr marL="29718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7pPr>
              <a:lvl8pPr marL="34290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8pPr>
              <a:lvl9pPr marL="38862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9pPr>
            </a:lstStyle>
            <a:p>
              <a:pPr algn="ctr" eaLnBrk="1" hangingPunct="1"/>
              <a:r>
                <a:rPr lang="es-ES" altLang="es-ES" sz="2000">
                  <a:solidFill>
                    <a:schemeClr val="accent6"/>
                  </a:solidFill>
                  <a:latin typeface="+mn-lt"/>
                </a:rPr>
                <a:t>Plan estratégico</a:t>
              </a:r>
            </a:p>
          </p:txBody>
        </p:sp>
        <p:pic>
          <p:nvPicPr>
            <p:cNvPr id="26" name="Imagen 25"/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rot="16200000">
              <a:off x="6826260" y="4746110"/>
              <a:ext cx="345646" cy="352491"/>
            </a:xfrm>
            <a:prstGeom prst="rect">
              <a:avLst/>
            </a:prstGeom>
          </p:spPr>
        </p:pic>
        <p:sp>
          <p:nvSpPr>
            <p:cNvPr id="27" name="Rectángulo redondeado 26"/>
            <p:cNvSpPr/>
            <p:nvPr/>
          </p:nvSpPr>
          <p:spPr>
            <a:xfrm>
              <a:off x="5859692" y="5139030"/>
              <a:ext cx="2353435" cy="728859"/>
            </a:xfrm>
            <a:prstGeom prst="roundRect">
              <a:avLst/>
            </a:prstGeom>
            <a:solidFill>
              <a:schemeClr val="bg1"/>
            </a:solidFill>
            <a:ln w="28575">
              <a:solidFill>
                <a:srgbClr val="0FA8D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sz="2000"/>
            </a:p>
          </p:txBody>
        </p:sp>
        <p:sp>
          <p:nvSpPr>
            <p:cNvPr id="28" name="Rectángulo 27"/>
            <p:cNvSpPr/>
            <p:nvPr/>
          </p:nvSpPr>
          <p:spPr>
            <a:xfrm>
              <a:off x="5791202" y="5149528"/>
              <a:ext cx="2496065" cy="711623"/>
            </a:xfrm>
            <a:prstGeom prst="rect">
              <a:avLst/>
            </a:prstGeom>
            <a:no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>
              <a:lvl1pPr eaLnBrk="0" hangingPunct="0"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1pPr>
              <a:lvl2pPr marL="742950" indent="-285750" eaLnBrk="0" hangingPunct="0"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2pPr>
              <a:lvl3pPr marL="1143000" indent="-228600" eaLnBrk="0" hangingPunct="0"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3pPr>
              <a:lvl4pPr marL="1600200" indent="-228600" eaLnBrk="0" hangingPunct="0"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4pPr>
              <a:lvl5pPr marL="2057400" indent="-228600" eaLnBrk="0" hangingPunct="0"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5pPr>
              <a:lvl6pPr marL="25146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6pPr>
              <a:lvl7pPr marL="29718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7pPr>
              <a:lvl8pPr marL="34290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8pPr>
              <a:lvl9pPr marL="38862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9pPr>
            </a:lstStyle>
            <a:p>
              <a:pPr algn="ctr" eaLnBrk="1" hangingPunct="1"/>
              <a:r>
                <a:rPr lang="es-ES" altLang="es-ES" sz="2000">
                  <a:solidFill>
                    <a:schemeClr val="accent6"/>
                  </a:solidFill>
                  <a:latin typeface="+mn-lt"/>
                </a:rPr>
                <a:t>Plan estratégico</a:t>
              </a:r>
            </a:p>
          </p:txBody>
        </p:sp>
        <p:pic>
          <p:nvPicPr>
            <p:cNvPr id="29" name="Imagen 28"/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rot="16200000">
              <a:off x="6801547" y="3568099"/>
              <a:ext cx="345646" cy="352491"/>
            </a:xfrm>
            <a:prstGeom prst="rect">
              <a:avLst/>
            </a:prstGeom>
          </p:spPr>
        </p:pic>
        <p:pic>
          <p:nvPicPr>
            <p:cNvPr id="30" name="Imagen 29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rot="20109042">
              <a:off x="3299472" y="1767445"/>
              <a:ext cx="2321079" cy="3690518"/>
            </a:xfrm>
            <a:prstGeom prst="rect">
              <a:avLst/>
            </a:prstGeom>
          </p:spPr>
        </p:pic>
        <p:sp>
          <p:nvSpPr>
            <p:cNvPr id="31" name="Elipse 30"/>
            <p:cNvSpPr/>
            <p:nvPr/>
          </p:nvSpPr>
          <p:spPr>
            <a:xfrm>
              <a:off x="1000957" y="1839606"/>
              <a:ext cx="2672405" cy="2187085"/>
            </a:xfrm>
            <a:prstGeom prst="ellipse">
              <a:avLst/>
            </a:prstGeom>
            <a:solidFill>
              <a:srgbClr val="0FA8DC">
                <a:alpha val="35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/>
            </a:p>
          </p:txBody>
        </p:sp>
        <p:sp>
          <p:nvSpPr>
            <p:cNvPr id="32" name="Rectángulo 31"/>
            <p:cNvSpPr>
              <a:spLocks noChangeArrowheads="1"/>
            </p:cNvSpPr>
            <p:nvPr/>
          </p:nvSpPr>
          <p:spPr bwMode="auto">
            <a:xfrm>
              <a:off x="972766" y="2634190"/>
              <a:ext cx="2564064" cy="690466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anchor="ctr"/>
            <a:lstStyle>
              <a:lvl1pPr eaLnBrk="0" hangingPunct="0"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1pPr>
              <a:lvl2pPr marL="742950" indent="-285750" eaLnBrk="0" hangingPunct="0"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2pPr>
              <a:lvl3pPr marL="1143000" indent="-228600" eaLnBrk="0" hangingPunct="0"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3pPr>
              <a:lvl4pPr marL="1600200" indent="-228600" eaLnBrk="0" hangingPunct="0"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4pPr>
              <a:lvl5pPr marL="2057400" indent="-228600" eaLnBrk="0" hangingPunct="0"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5pPr>
              <a:lvl6pPr marL="25146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6pPr>
              <a:lvl7pPr marL="29718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7pPr>
              <a:lvl8pPr marL="34290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8pPr>
              <a:lvl9pPr marL="38862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9pPr>
            </a:lstStyle>
            <a:p>
              <a:pPr algn="ctr" eaLnBrk="1" hangingPunct="1"/>
              <a:r>
                <a:rPr lang="es-ES" altLang="es-ES" sz="2400" b="1">
                  <a:solidFill>
                    <a:srgbClr val="212B6C"/>
                  </a:solidFill>
                  <a:latin typeface="+mn-lt"/>
                </a:rPr>
                <a:t>Autoevaluación EFQM</a:t>
              </a:r>
            </a:p>
          </p:txBody>
        </p:sp>
        <p:sp>
          <p:nvSpPr>
            <p:cNvPr id="33" name="Elipse 32"/>
            <p:cNvSpPr/>
            <p:nvPr/>
          </p:nvSpPr>
          <p:spPr>
            <a:xfrm>
              <a:off x="2146658" y="3796093"/>
              <a:ext cx="2313353" cy="2187085"/>
            </a:xfrm>
            <a:prstGeom prst="ellipse">
              <a:avLst/>
            </a:prstGeom>
            <a:solidFill>
              <a:srgbClr val="0FA8DC">
                <a:alpha val="35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/>
            </a:p>
          </p:txBody>
        </p:sp>
        <p:sp>
          <p:nvSpPr>
            <p:cNvPr id="34" name="Rectángulo 33"/>
            <p:cNvSpPr>
              <a:spLocks noChangeArrowheads="1"/>
            </p:cNvSpPr>
            <p:nvPr/>
          </p:nvSpPr>
          <p:spPr bwMode="auto">
            <a:xfrm>
              <a:off x="2146658" y="4464908"/>
              <a:ext cx="2256466" cy="816235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anchor="ctr"/>
            <a:lstStyle>
              <a:lvl1pPr eaLnBrk="0" hangingPunct="0"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1pPr>
              <a:lvl2pPr marL="742950" indent="-285750" eaLnBrk="0" hangingPunct="0"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2pPr>
              <a:lvl3pPr marL="1143000" indent="-228600" eaLnBrk="0" hangingPunct="0"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3pPr>
              <a:lvl4pPr marL="1600200" indent="-228600" eaLnBrk="0" hangingPunct="0"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4pPr>
              <a:lvl5pPr marL="2057400" indent="-228600" eaLnBrk="0" hangingPunct="0"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5pPr>
              <a:lvl6pPr marL="25146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6pPr>
              <a:lvl7pPr marL="29718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7pPr>
              <a:lvl8pPr marL="34290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8pPr>
              <a:lvl9pPr marL="38862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9pPr>
            </a:lstStyle>
            <a:p>
              <a:pPr algn="ctr" eaLnBrk="1" hangingPunct="1"/>
              <a:r>
                <a:rPr lang="es-ES" altLang="es-ES" sz="2400" b="1">
                  <a:solidFill>
                    <a:srgbClr val="212B6C"/>
                  </a:solidFill>
                  <a:latin typeface="+mn-lt"/>
                </a:rPr>
                <a:t>Área</a:t>
              </a:r>
            </a:p>
            <a:p>
              <a:pPr algn="ctr" eaLnBrk="1" hangingPunct="1"/>
              <a:r>
                <a:rPr lang="es-ES" altLang="es-ES" sz="2400" b="1">
                  <a:solidFill>
                    <a:srgbClr val="212B6C"/>
                  </a:solidFill>
                  <a:latin typeface="+mn-lt"/>
                </a:rPr>
                <a:t>de mejora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3842691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ángulo 1"/>
          <p:cNvSpPr/>
          <p:nvPr/>
        </p:nvSpPr>
        <p:spPr>
          <a:xfrm>
            <a:off x="1694079" y="1537813"/>
            <a:ext cx="6283269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s-ES" sz="4000">
                <a:solidFill>
                  <a:srgbClr val="212B6C"/>
                </a:solidFill>
              </a:rPr>
              <a:t>Metodología de evaluación del Plan Estratégico</a:t>
            </a:r>
          </a:p>
        </p:txBody>
      </p:sp>
      <p:pic>
        <p:nvPicPr>
          <p:cNvPr id="3" name="22 Imagen" descr="Logo SePIR grande jpg.JPG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3765741" y="3679157"/>
            <a:ext cx="2976890" cy="8651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888526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 txBox="1">
            <a:spLocks/>
          </p:cNvSpPr>
          <p:nvPr/>
        </p:nvSpPr>
        <p:spPr>
          <a:xfrm>
            <a:off x="295135" y="280020"/>
            <a:ext cx="6756454" cy="426561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spcBef>
                <a:spcPts val="0"/>
              </a:spcBef>
            </a:pPr>
            <a:r>
              <a:rPr lang="es-ES" sz="2400" b="1">
                <a:solidFill>
                  <a:srgbClr val="0FA8DC"/>
                </a:solidFill>
                <a:latin typeface="+mn-lt"/>
              </a:rPr>
              <a:t>Variables de medida</a:t>
            </a:r>
            <a:endParaRPr lang="es-ES" sz="2400" b="1" i="1">
              <a:solidFill>
                <a:srgbClr val="0FA8DC"/>
              </a:solidFill>
              <a:latin typeface="+mn-lt"/>
            </a:endParaRPr>
          </a:p>
        </p:txBody>
      </p:sp>
      <p:sp>
        <p:nvSpPr>
          <p:cNvPr id="3" name="CuadroTexto 2"/>
          <p:cNvSpPr txBox="1"/>
          <p:nvPr/>
        </p:nvSpPr>
        <p:spPr>
          <a:xfrm>
            <a:off x="310896" y="1488216"/>
            <a:ext cx="9107424" cy="393030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800100" lvl="1" indent="-342900" algn="l" fontAlgn="auto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Font typeface="+mj-lt"/>
              <a:buAutoNum type="arabicPeriod"/>
            </a:pPr>
            <a:r>
              <a:rPr lang="es-ES" sz="2400" b="1">
                <a:solidFill>
                  <a:srgbClr val="B81B49"/>
                </a:solidFill>
                <a:latin typeface="Calibri" panose="020F0502020204030204"/>
              </a:rPr>
              <a:t>Grado de desarrollo anual</a:t>
            </a:r>
            <a:r>
              <a:rPr lang="es-ES" sz="2400">
                <a:solidFill>
                  <a:srgbClr val="B81B49"/>
                </a:solidFill>
                <a:latin typeface="Calibri" panose="020F0502020204030204"/>
              </a:rPr>
              <a:t> del Plan</a:t>
            </a:r>
          </a:p>
          <a:p>
            <a:pPr marL="1257300" lvl="2" indent="-342900" algn="l" fontAlgn="auto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s-ES" sz="2000">
                <a:solidFill>
                  <a:srgbClr val="212B6C"/>
                </a:solidFill>
                <a:latin typeface="Calibri" panose="020F0502020204030204"/>
              </a:rPr>
              <a:t>Porcentaje de cumplimiento de las </a:t>
            </a:r>
            <a:r>
              <a:rPr lang="es-ES" sz="2000" b="1">
                <a:solidFill>
                  <a:srgbClr val="212B6C"/>
                </a:solidFill>
                <a:latin typeface="Calibri" panose="020F0502020204030204"/>
              </a:rPr>
              <a:t>actividades realizadas en una anualidad</a:t>
            </a:r>
            <a:r>
              <a:rPr lang="es-ES" sz="2000">
                <a:solidFill>
                  <a:srgbClr val="212B6C"/>
                </a:solidFill>
                <a:latin typeface="Calibri" panose="020F0502020204030204"/>
              </a:rPr>
              <a:t> respecto al total de actividades planificadas para dicha anualidad.</a:t>
            </a:r>
          </a:p>
          <a:p>
            <a:pPr marL="800100" lvl="1" indent="-342900" algn="l" fontAlgn="auto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Font typeface="+mj-lt"/>
              <a:buAutoNum type="arabicPeriod"/>
            </a:pPr>
            <a:r>
              <a:rPr lang="es-ES" sz="2400" b="1">
                <a:solidFill>
                  <a:srgbClr val="B81B49"/>
                </a:solidFill>
                <a:latin typeface="Calibri" panose="020F0502020204030204"/>
              </a:rPr>
              <a:t>Objetivo de desarrollo global</a:t>
            </a:r>
            <a:r>
              <a:rPr lang="es-ES" sz="2400">
                <a:solidFill>
                  <a:srgbClr val="B81B49"/>
                </a:solidFill>
                <a:latin typeface="Calibri" panose="020F0502020204030204"/>
              </a:rPr>
              <a:t> del Plan</a:t>
            </a:r>
          </a:p>
          <a:p>
            <a:pPr marL="1257300" lvl="2" indent="-342900" algn="l" fontAlgn="auto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s-ES" sz="2000">
                <a:solidFill>
                  <a:srgbClr val="212B6C"/>
                </a:solidFill>
                <a:latin typeface="Calibri" panose="020F0502020204030204"/>
              </a:rPr>
              <a:t>Número de </a:t>
            </a:r>
            <a:r>
              <a:rPr lang="es-ES" sz="2000" b="1">
                <a:solidFill>
                  <a:srgbClr val="212B6C"/>
                </a:solidFill>
                <a:latin typeface="Calibri" panose="020F0502020204030204"/>
              </a:rPr>
              <a:t>actividades planificadas hasta la anualidad analizada </a:t>
            </a:r>
            <a:r>
              <a:rPr lang="es-ES" sz="2000">
                <a:solidFill>
                  <a:srgbClr val="212B6C"/>
                </a:solidFill>
                <a:latin typeface="Calibri" panose="020F0502020204030204"/>
              </a:rPr>
              <a:t>respecto al total de actividades de las que se compone el Plan Estratégico.</a:t>
            </a:r>
          </a:p>
          <a:p>
            <a:pPr marL="800100" lvl="1" indent="-342900" algn="l" fontAlgn="auto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Font typeface="+mj-lt"/>
              <a:buAutoNum type="arabicPeriod"/>
            </a:pPr>
            <a:r>
              <a:rPr lang="es-ES" sz="2400" b="1">
                <a:solidFill>
                  <a:srgbClr val="B81B49"/>
                </a:solidFill>
                <a:latin typeface="Calibri" panose="020F0502020204030204"/>
              </a:rPr>
              <a:t>Grado de desarrollo global</a:t>
            </a:r>
            <a:r>
              <a:rPr lang="es-ES" sz="2400">
                <a:solidFill>
                  <a:srgbClr val="B81B49"/>
                </a:solidFill>
                <a:latin typeface="Calibri" panose="020F0502020204030204"/>
              </a:rPr>
              <a:t> del Plan</a:t>
            </a:r>
          </a:p>
          <a:p>
            <a:pPr marL="1257300" lvl="2" indent="-342900" algn="l" fontAlgn="auto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s-ES" sz="2000">
                <a:solidFill>
                  <a:srgbClr val="212B6C"/>
                </a:solidFill>
                <a:latin typeface="Calibri" panose="020F0502020204030204"/>
              </a:rPr>
              <a:t>Número de </a:t>
            </a:r>
            <a:r>
              <a:rPr lang="es-ES" sz="2000" b="1">
                <a:solidFill>
                  <a:srgbClr val="212B6C"/>
                </a:solidFill>
                <a:latin typeface="Calibri" panose="020F0502020204030204"/>
              </a:rPr>
              <a:t>actividades realizadas hasta la anualidad analizada </a:t>
            </a:r>
            <a:r>
              <a:rPr lang="es-ES" sz="2000">
                <a:solidFill>
                  <a:srgbClr val="212B6C"/>
                </a:solidFill>
                <a:latin typeface="Calibri" panose="020F0502020204030204"/>
              </a:rPr>
              <a:t>respecto al total de actividades de las que se compone el Plan Estratégico.</a:t>
            </a:r>
          </a:p>
        </p:txBody>
      </p:sp>
    </p:spTree>
    <p:extLst>
      <p:ext uri="{BB962C8B-B14F-4D97-AF65-F5344CB8AC3E}">
        <p14:creationId xmlns:p14="http://schemas.microsoft.com/office/powerpoint/2010/main" val="12847164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4" name="Conector recto 4"/>
          <p:cNvCxnSpPr/>
          <p:nvPr/>
        </p:nvCxnSpPr>
        <p:spPr>
          <a:xfrm>
            <a:off x="372066" y="2458475"/>
            <a:ext cx="9175531" cy="0"/>
          </a:xfrm>
          <a:prstGeom prst="line">
            <a:avLst/>
          </a:prstGeom>
          <a:ln w="381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CuadroTexto 1"/>
          <p:cNvSpPr txBox="1"/>
          <p:nvPr/>
        </p:nvSpPr>
        <p:spPr>
          <a:xfrm>
            <a:off x="476161" y="1466578"/>
            <a:ext cx="8702345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_tradnl" sz="5400" b="1">
                <a:solidFill>
                  <a:srgbClr val="0FA8DC"/>
                </a:solidFill>
              </a:rPr>
              <a:t>Nuestro Proyecto</a:t>
            </a:r>
          </a:p>
        </p:txBody>
      </p:sp>
      <p:sp>
        <p:nvSpPr>
          <p:cNvPr id="46" name="CuadroTexto 2"/>
          <p:cNvSpPr txBox="1"/>
          <p:nvPr/>
        </p:nvSpPr>
        <p:spPr>
          <a:xfrm>
            <a:off x="372066" y="2896710"/>
            <a:ext cx="880644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_tradnl" sz="3600" b="1">
                <a:solidFill>
                  <a:schemeClr val="accent2"/>
                </a:solidFill>
                <a:latin typeface="Arial Rounded MT Bold" panose="020F0704030504030204" pitchFamily="34" charset="0"/>
              </a:rPr>
              <a:t>PLAN ESTRATÉGICO 2015-2019 </a:t>
            </a:r>
          </a:p>
          <a:p>
            <a:pPr algn="ctr"/>
            <a:r>
              <a:rPr lang="es-ES" sz="3600" b="1">
                <a:solidFill>
                  <a:srgbClr val="212B6C"/>
                </a:solidFill>
                <a:latin typeface="Arial Rounded MT Bold" panose="020F0704030504030204" pitchFamily="34" charset="0"/>
              </a:rPr>
              <a:t>Hospital Universitario 12 de Octubre</a:t>
            </a:r>
            <a:endParaRPr lang="es-ES_tradnl" sz="3600" b="1">
              <a:solidFill>
                <a:srgbClr val="212B6C"/>
              </a:solidFill>
              <a:latin typeface="Arial Rounded MT Bold" panose="020F07040305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228908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 txBox="1">
            <a:spLocks/>
          </p:cNvSpPr>
          <p:nvPr/>
        </p:nvSpPr>
        <p:spPr>
          <a:xfrm>
            <a:off x="295135" y="280021"/>
            <a:ext cx="6756454" cy="271914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spcBef>
                <a:spcPts val="0"/>
              </a:spcBef>
            </a:pPr>
            <a:r>
              <a:rPr lang="es-ES" sz="2400" b="1">
                <a:solidFill>
                  <a:srgbClr val="0FA8DC"/>
                </a:solidFill>
                <a:latin typeface="+mn-lt"/>
              </a:rPr>
              <a:t>Revisión de los planes de actuación </a:t>
            </a:r>
            <a:endParaRPr lang="es-ES" sz="2400" b="1" i="1">
              <a:solidFill>
                <a:srgbClr val="0FA8DC"/>
              </a:solidFill>
              <a:latin typeface="+mn-lt"/>
            </a:endParaRPr>
          </a:p>
        </p:txBody>
      </p:sp>
      <p:sp>
        <p:nvSpPr>
          <p:cNvPr id="3" name="Rectángulo 2"/>
          <p:cNvSpPr/>
          <p:nvPr/>
        </p:nvSpPr>
        <p:spPr>
          <a:xfrm>
            <a:off x="1645256" y="1081181"/>
            <a:ext cx="6486071" cy="83099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s-ES" sz="2400" b="1">
                <a:solidFill>
                  <a:srgbClr val="212B6C"/>
                </a:solidFill>
              </a:rPr>
              <a:t>Desarrollo anual: </a:t>
            </a:r>
            <a:r>
              <a:rPr lang="es-ES" sz="2400">
                <a:solidFill>
                  <a:srgbClr val="212B6C"/>
                </a:solidFill>
              </a:rPr>
              <a:t>Evaluación individualizada </a:t>
            </a:r>
          </a:p>
          <a:p>
            <a:pPr algn="ctr"/>
            <a:r>
              <a:rPr lang="es-ES" sz="2400">
                <a:solidFill>
                  <a:srgbClr val="212B6C"/>
                </a:solidFill>
              </a:rPr>
              <a:t>de cada actividad</a:t>
            </a:r>
            <a:endParaRPr lang="es-ES_tradnl" sz="2400">
              <a:solidFill>
                <a:srgbClr val="212B6C"/>
              </a:solidFill>
            </a:endParaRPr>
          </a:p>
        </p:txBody>
      </p:sp>
      <p:sp>
        <p:nvSpPr>
          <p:cNvPr id="4" name="Rectángulo 3"/>
          <p:cNvSpPr/>
          <p:nvPr/>
        </p:nvSpPr>
        <p:spPr>
          <a:xfrm>
            <a:off x="2341300" y="4097479"/>
            <a:ext cx="1422902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s-ES">
                <a:solidFill>
                  <a:srgbClr val="212B6C"/>
                </a:solidFill>
              </a:rPr>
              <a:t>Actividad completada</a:t>
            </a:r>
            <a:endParaRPr lang="es-ES_tradnl">
              <a:solidFill>
                <a:srgbClr val="212B6C"/>
              </a:solidFill>
            </a:endParaRPr>
          </a:p>
        </p:txBody>
      </p:sp>
      <p:sp>
        <p:nvSpPr>
          <p:cNvPr id="5" name="Rectángulo 4"/>
          <p:cNvSpPr/>
          <p:nvPr/>
        </p:nvSpPr>
        <p:spPr>
          <a:xfrm>
            <a:off x="4138367" y="3958981"/>
            <a:ext cx="1672837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s-ES">
                <a:solidFill>
                  <a:srgbClr val="212B6C"/>
                </a:solidFill>
              </a:rPr>
              <a:t>Actividad iniciada pero no finalizada</a:t>
            </a:r>
            <a:endParaRPr lang="es-ES_tradnl">
              <a:solidFill>
                <a:srgbClr val="212B6C"/>
              </a:solidFill>
            </a:endParaRPr>
          </a:p>
        </p:txBody>
      </p:sp>
      <p:sp>
        <p:nvSpPr>
          <p:cNvPr id="6" name="Rectángulo 5"/>
          <p:cNvSpPr/>
          <p:nvPr/>
        </p:nvSpPr>
        <p:spPr>
          <a:xfrm>
            <a:off x="6185369" y="4097480"/>
            <a:ext cx="1422902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s-ES">
                <a:solidFill>
                  <a:srgbClr val="212B6C"/>
                </a:solidFill>
              </a:rPr>
              <a:t>Actividad </a:t>
            </a:r>
          </a:p>
          <a:p>
            <a:pPr algn="ctr"/>
            <a:r>
              <a:rPr lang="es-ES">
                <a:solidFill>
                  <a:srgbClr val="212B6C"/>
                </a:solidFill>
              </a:rPr>
              <a:t>sin iniciar</a:t>
            </a:r>
            <a:endParaRPr lang="es-ES_tradnl">
              <a:solidFill>
                <a:srgbClr val="212B6C"/>
              </a:solidFill>
            </a:endParaRPr>
          </a:p>
        </p:txBody>
      </p:sp>
      <p:pic>
        <p:nvPicPr>
          <p:cNvPr id="7" name="Imagen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954306" y="2152068"/>
            <a:ext cx="5867972" cy="1853619"/>
          </a:xfrm>
          <a:prstGeom prst="rect">
            <a:avLst/>
          </a:prstGeom>
        </p:spPr>
      </p:pic>
      <p:sp>
        <p:nvSpPr>
          <p:cNvPr id="8" name="CuadroTexto 7"/>
          <p:cNvSpPr txBox="1"/>
          <p:nvPr/>
        </p:nvSpPr>
        <p:spPr>
          <a:xfrm>
            <a:off x="1730188" y="5316465"/>
            <a:ext cx="283284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b="1"/>
              <a:t>Consideraciones:</a:t>
            </a:r>
          </a:p>
        </p:txBody>
      </p:sp>
      <p:sp>
        <p:nvSpPr>
          <p:cNvPr id="9" name="Rectángulo 8"/>
          <p:cNvSpPr/>
          <p:nvPr/>
        </p:nvSpPr>
        <p:spPr>
          <a:xfrm>
            <a:off x="3989294" y="5128204"/>
            <a:ext cx="4389071" cy="743678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s-ES">
                <a:solidFill>
                  <a:srgbClr val="212B6C"/>
                </a:solidFill>
              </a:rPr>
              <a:t>Revisión de valoración objetiva.</a:t>
            </a:r>
          </a:p>
          <a:p>
            <a:r>
              <a:rPr lang="es-ES">
                <a:solidFill>
                  <a:srgbClr val="212B6C"/>
                </a:solidFill>
              </a:rPr>
              <a:t>Ponderación de actividades por duración.</a:t>
            </a:r>
          </a:p>
        </p:txBody>
      </p:sp>
    </p:spTree>
    <p:extLst>
      <p:ext uri="{BB962C8B-B14F-4D97-AF65-F5344CB8AC3E}">
        <p14:creationId xmlns:p14="http://schemas.microsoft.com/office/powerpoint/2010/main" val="22134309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 txBox="1">
            <a:spLocks/>
          </p:cNvSpPr>
          <p:nvPr/>
        </p:nvSpPr>
        <p:spPr>
          <a:xfrm>
            <a:off x="295134" y="280021"/>
            <a:ext cx="7416841" cy="271914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spcBef>
                <a:spcPts val="0"/>
              </a:spcBef>
            </a:pPr>
            <a:r>
              <a:rPr lang="es-ES" sz="2400" b="1">
                <a:solidFill>
                  <a:srgbClr val="0FA8DC"/>
                </a:solidFill>
                <a:latin typeface="+mn-lt"/>
              </a:rPr>
              <a:t>Revisión de los planes de actuación </a:t>
            </a:r>
            <a:endParaRPr lang="es-ES" sz="2400" b="1" i="1">
              <a:solidFill>
                <a:srgbClr val="0FA8DC"/>
              </a:solidFill>
              <a:latin typeface="+mn-lt"/>
            </a:endParaRPr>
          </a:p>
        </p:txBody>
      </p:sp>
      <p:sp>
        <p:nvSpPr>
          <p:cNvPr id="3" name="Rectángulo 2"/>
          <p:cNvSpPr/>
          <p:nvPr/>
        </p:nvSpPr>
        <p:spPr>
          <a:xfrm>
            <a:off x="2943751" y="1340590"/>
            <a:ext cx="4006225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ES" sz="2400">
                <a:solidFill>
                  <a:srgbClr val="212B6C"/>
                </a:solidFill>
              </a:rPr>
              <a:t>Ejemplo de desarrollo anual</a:t>
            </a:r>
            <a:endParaRPr lang="es-ES_tradnl" sz="2400">
              <a:solidFill>
                <a:srgbClr val="212B6C"/>
              </a:solidFill>
            </a:endParaRPr>
          </a:p>
        </p:txBody>
      </p:sp>
      <p:sp>
        <p:nvSpPr>
          <p:cNvPr id="4" name="CuadroTexto 3"/>
          <p:cNvSpPr txBox="1"/>
          <p:nvPr/>
        </p:nvSpPr>
        <p:spPr>
          <a:xfrm>
            <a:off x="403412" y="2428413"/>
            <a:ext cx="283284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/>
              <a:t>Actividades planificadas:</a:t>
            </a:r>
          </a:p>
        </p:txBody>
      </p:sp>
      <p:sp>
        <p:nvSpPr>
          <p:cNvPr id="5" name="Rectángulo 4"/>
          <p:cNvSpPr/>
          <p:nvPr/>
        </p:nvSpPr>
        <p:spPr>
          <a:xfrm>
            <a:off x="1228165" y="3227286"/>
            <a:ext cx="1102659" cy="233082"/>
          </a:xfrm>
          <a:prstGeom prst="rect">
            <a:avLst/>
          </a:prstGeom>
          <a:solidFill>
            <a:srgbClr val="212B6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6" name="Rectángulo 5"/>
          <p:cNvSpPr/>
          <p:nvPr/>
        </p:nvSpPr>
        <p:spPr>
          <a:xfrm>
            <a:off x="1228165" y="3584095"/>
            <a:ext cx="1102659" cy="233082"/>
          </a:xfrm>
          <a:prstGeom prst="rect">
            <a:avLst/>
          </a:prstGeom>
          <a:solidFill>
            <a:srgbClr val="212B6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7" name="Rectángulo 6"/>
          <p:cNvSpPr/>
          <p:nvPr/>
        </p:nvSpPr>
        <p:spPr>
          <a:xfrm>
            <a:off x="1228165" y="3940904"/>
            <a:ext cx="1102659" cy="233082"/>
          </a:xfrm>
          <a:prstGeom prst="rect">
            <a:avLst/>
          </a:prstGeom>
          <a:solidFill>
            <a:srgbClr val="212B6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8" name="Rectángulo 7"/>
          <p:cNvSpPr/>
          <p:nvPr/>
        </p:nvSpPr>
        <p:spPr>
          <a:xfrm>
            <a:off x="1228165" y="4297713"/>
            <a:ext cx="1102659" cy="233082"/>
          </a:xfrm>
          <a:prstGeom prst="rect">
            <a:avLst/>
          </a:prstGeom>
          <a:solidFill>
            <a:srgbClr val="212B6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9" name="Rectángulo 8"/>
          <p:cNvSpPr/>
          <p:nvPr/>
        </p:nvSpPr>
        <p:spPr>
          <a:xfrm>
            <a:off x="2662518" y="3227286"/>
            <a:ext cx="1102659" cy="233082"/>
          </a:xfrm>
          <a:prstGeom prst="rect">
            <a:avLst/>
          </a:prstGeom>
          <a:solidFill>
            <a:srgbClr val="0FA8D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10" name="Rectángulo 9"/>
          <p:cNvSpPr/>
          <p:nvPr/>
        </p:nvSpPr>
        <p:spPr>
          <a:xfrm>
            <a:off x="2662518" y="3584095"/>
            <a:ext cx="1102659" cy="233082"/>
          </a:xfrm>
          <a:prstGeom prst="rect">
            <a:avLst/>
          </a:prstGeom>
          <a:solidFill>
            <a:srgbClr val="0FA8D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11" name="Rectángulo 10"/>
          <p:cNvSpPr/>
          <p:nvPr/>
        </p:nvSpPr>
        <p:spPr>
          <a:xfrm>
            <a:off x="2662518" y="3940904"/>
            <a:ext cx="1102659" cy="233082"/>
          </a:xfrm>
          <a:prstGeom prst="rect">
            <a:avLst/>
          </a:prstGeom>
          <a:solidFill>
            <a:srgbClr val="0FA8D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12" name="Elipse 11"/>
          <p:cNvSpPr/>
          <p:nvPr/>
        </p:nvSpPr>
        <p:spPr>
          <a:xfrm>
            <a:off x="3236259" y="2392937"/>
            <a:ext cx="636494" cy="476526"/>
          </a:xfrm>
          <a:prstGeom prst="ellipse">
            <a:avLst/>
          </a:prstGeom>
          <a:solidFill>
            <a:srgbClr val="0FA8D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b="1"/>
              <a:t>10</a:t>
            </a:r>
          </a:p>
        </p:txBody>
      </p:sp>
      <p:sp>
        <p:nvSpPr>
          <p:cNvPr id="13" name="Rectángulo 12"/>
          <p:cNvSpPr/>
          <p:nvPr/>
        </p:nvSpPr>
        <p:spPr>
          <a:xfrm>
            <a:off x="4096871" y="3227286"/>
            <a:ext cx="1102659" cy="233082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14" name="Rectángulo 13"/>
          <p:cNvSpPr/>
          <p:nvPr/>
        </p:nvSpPr>
        <p:spPr>
          <a:xfrm>
            <a:off x="4096871" y="3584095"/>
            <a:ext cx="1102659" cy="233082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15" name="Rectángulo 14"/>
          <p:cNvSpPr/>
          <p:nvPr/>
        </p:nvSpPr>
        <p:spPr>
          <a:xfrm>
            <a:off x="4096871" y="3940904"/>
            <a:ext cx="1102659" cy="233082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16" name="CuadroTexto 15"/>
          <p:cNvSpPr txBox="1"/>
          <p:nvPr/>
        </p:nvSpPr>
        <p:spPr>
          <a:xfrm>
            <a:off x="1030941" y="4679568"/>
            <a:ext cx="15240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1600"/>
              <a:t>4 finalizadas</a:t>
            </a:r>
          </a:p>
        </p:txBody>
      </p:sp>
      <p:sp>
        <p:nvSpPr>
          <p:cNvPr id="17" name="CuadroTexto 16"/>
          <p:cNvSpPr txBox="1"/>
          <p:nvPr/>
        </p:nvSpPr>
        <p:spPr>
          <a:xfrm>
            <a:off x="2451847" y="4679568"/>
            <a:ext cx="15240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1600">
                <a:solidFill>
                  <a:srgbClr val="0FA8DC"/>
                </a:solidFill>
              </a:rPr>
              <a:t>3 iniciadas</a:t>
            </a:r>
          </a:p>
        </p:txBody>
      </p:sp>
      <p:sp>
        <p:nvSpPr>
          <p:cNvPr id="18" name="CuadroTexto 17"/>
          <p:cNvSpPr txBox="1"/>
          <p:nvPr/>
        </p:nvSpPr>
        <p:spPr>
          <a:xfrm>
            <a:off x="3890683" y="4679568"/>
            <a:ext cx="15240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1600">
                <a:solidFill>
                  <a:schemeClr val="bg1">
                    <a:lumMod val="65000"/>
                  </a:schemeClr>
                </a:solidFill>
              </a:rPr>
              <a:t>3 sin iniciar</a:t>
            </a:r>
          </a:p>
        </p:txBody>
      </p:sp>
      <p:sp>
        <p:nvSpPr>
          <p:cNvPr id="19" name="CuadroTexto 18"/>
          <p:cNvSpPr txBox="1"/>
          <p:nvPr/>
        </p:nvSpPr>
        <p:spPr>
          <a:xfrm>
            <a:off x="6329082" y="2428413"/>
            <a:ext cx="297628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/>
              <a:t>Grado de desarrollo anual:</a:t>
            </a:r>
          </a:p>
        </p:txBody>
      </p:sp>
      <p:sp>
        <p:nvSpPr>
          <p:cNvPr id="20" name="CuadroTexto 19"/>
          <p:cNvSpPr txBox="1"/>
          <p:nvPr/>
        </p:nvSpPr>
        <p:spPr>
          <a:xfrm>
            <a:off x="6187976" y="3092807"/>
            <a:ext cx="1524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/>
              <a:t>4 finalizadas</a:t>
            </a:r>
          </a:p>
        </p:txBody>
      </p:sp>
      <p:sp>
        <p:nvSpPr>
          <p:cNvPr id="21" name="CuadroTexto 20"/>
          <p:cNvSpPr txBox="1"/>
          <p:nvPr/>
        </p:nvSpPr>
        <p:spPr>
          <a:xfrm>
            <a:off x="6187976" y="3647900"/>
            <a:ext cx="1524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>
                <a:solidFill>
                  <a:srgbClr val="0FA8DC"/>
                </a:solidFill>
              </a:rPr>
              <a:t>3 iniciadas</a:t>
            </a:r>
          </a:p>
        </p:txBody>
      </p:sp>
      <p:sp>
        <p:nvSpPr>
          <p:cNvPr id="22" name="CuadroTexto 21"/>
          <p:cNvSpPr txBox="1"/>
          <p:nvPr/>
        </p:nvSpPr>
        <p:spPr>
          <a:xfrm>
            <a:off x="6187976" y="4202993"/>
            <a:ext cx="1524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>
                <a:solidFill>
                  <a:schemeClr val="bg1">
                    <a:lumMod val="65000"/>
                  </a:schemeClr>
                </a:solidFill>
              </a:rPr>
              <a:t>3 sin iniciar</a:t>
            </a:r>
          </a:p>
        </p:txBody>
      </p:sp>
      <p:sp>
        <p:nvSpPr>
          <p:cNvPr id="23" name="CuadroTexto 22"/>
          <p:cNvSpPr txBox="1"/>
          <p:nvPr/>
        </p:nvSpPr>
        <p:spPr>
          <a:xfrm>
            <a:off x="8283388" y="3092807"/>
            <a:ext cx="773294" cy="36756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/>
              <a:t>4</a:t>
            </a:r>
          </a:p>
        </p:txBody>
      </p:sp>
      <p:sp>
        <p:nvSpPr>
          <p:cNvPr id="24" name="CuadroTexto 23"/>
          <p:cNvSpPr txBox="1"/>
          <p:nvPr/>
        </p:nvSpPr>
        <p:spPr>
          <a:xfrm>
            <a:off x="8283388" y="3633396"/>
            <a:ext cx="77329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>
                <a:solidFill>
                  <a:srgbClr val="0FA8DC"/>
                </a:solidFill>
              </a:rPr>
              <a:t>1,5</a:t>
            </a:r>
          </a:p>
        </p:txBody>
      </p:sp>
      <p:sp>
        <p:nvSpPr>
          <p:cNvPr id="25" name="CuadroTexto 24"/>
          <p:cNvSpPr txBox="1"/>
          <p:nvPr/>
        </p:nvSpPr>
        <p:spPr>
          <a:xfrm>
            <a:off x="8283388" y="4173986"/>
            <a:ext cx="77329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>
                <a:solidFill>
                  <a:schemeClr val="bg1">
                    <a:lumMod val="65000"/>
                  </a:schemeClr>
                </a:solidFill>
              </a:rPr>
              <a:t>0</a:t>
            </a:r>
          </a:p>
        </p:txBody>
      </p:sp>
      <p:cxnSp>
        <p:nvCxnSpPr>
          <p:cNvPr id="26" name="Conector recto 25"/>
          <p:cNvCxnSpPr/>
          <p:nvPr/>
        </p:nvCxnSpPr>
        <p:spPr>
          <a:xfrm>
            <a:off x="6445624" y="4679568"/>
            <a:ext cx="2680447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CuadroTexto 26"/>
          <p:cNvSpPr txBox="1"/>
          <p:nvPr/>
        </p:nvSpPr>
        <p:spPr>
          <a:xfrm>
            <a:off x="8283388" y="4817590"/>
            <a:ext cx="773294" cy="36756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/>
              <a:t>55%</a:t>
            </a:r>
          </a:p>
        </p:txBody>
      </p:sp>
      <p:sp>
        <p:nvSpPr>
          <p:cNvPr id="28" name="CuadroTexto 27"/>
          <p:cNvSpPr txBox="1"/>
          <p:nvPr/>
        </p:nvSpPr>
        <p:spPr>
          <a:xfrm>
            <a:off x="6187976" y="4817590"/>
            <a:ext cx="1524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b="1">
                <a:solidFill>
                  <a:srgbClr val="212B6C"/>
                </a:solidFill>
              </a:rPr>
              <a:t>TOTAL</a:t>
            </a:r>
          </a:p>
        </p:txBody>
      </p:sp>
    </p:spTree>
    <p:extLst>
      <p:ext uri="{BB962C8B-B14F-4D97-AF65-F5344CB8AC3E}">
        <p14:creationId xmlns:p14="http://schemas.microsoft.com/office/powerpoint/2010/main" val="2698464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 txBox="1">
            <a:spLocks/>
          </p:cNvSpPr>
          <p:nvPr/>
        </p:nvSpPr>
        <p:spPr>
          <a:xfrm>
            <a:off x="295135" y="280021"/>
            <a:ext cx="6756454" cy="271914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spcBef>
                <a:spcPts val="0"/>
              </a:spcBef>
            </a:pPr>
            <a:r>
              <a:rPr lang="es-ES" sz="1800" b="1">
                <a:solidFill>
                  <a:srgbClr val="0FA8DC"/>
                </a:solidFill>
                <a:latin typeface="+mn-lt"/>
              </a:rPr>
              <a:t>Representación gráfica de ejecución – Plan Estratégico</a:t>
            </a:r>
            <a:endParaRPr lang="es-ES" sz="1800" b="1" i="1">
              <a:solidFill>
                <a:srgbClr val="0FA8DC"/>
              </a:solidFill>
              <a:latin typeface="+mn-lt"/>
            </a:endParaRPr>
          </a:p>
        </p:txBody>
      </p:sp>
      <p:sp>
        <p:nvSpPr>
          <p:cNvPr id="3" name="Rectángulo 2"/>
          <p:cNvSpPr/>
          <p:nvPr/>
        </p:nvSpPr>
        <p:spPr>
          <a:xfrm>
            <a:off x="2223142" y="1143710"/>
            <a:ext cx="5203669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ES" sz="2400">
                <a:solidFill>
                  <a:srgbClr val="212B6C"/>
                </a:solidFill>
              </a:rPr>
              <a:t>Objetivo y grado de desarrollo global</a:t>
            </a:r>
            <a:endParaRPr lang="es-ES_tradnl" sz="2400">
              <a:solidFill>
                <a:srgbClr val="212B6C"/>
              </a:solidFill>
            </a:endParaRPr>
          </a:p>
        </p:txBody>
      </p:sp>
      <p:graphicFrame>
        <p:nvGraphicFramePr>
          <p:cNvPr id="4" name="Gráfico 3"/>
          <p:cNvGraphicFramePr/>
          <p:nvPr>
            <p:extLst>
              <p:ext uri="{D42A27DB-BD31-4B8C-83A1-F6EECF244321}">
                <p14:modId xmlns:p14="http://schemas.microsoft.com/office/powerpoint/2010/main" val="2325189245"/>
              </p:ext>
            </p:extLst>
          </p:nvPr>
        </p:nvGraphicFramePr>
        <p:xfrm>
          <a:off x="1160430" y="3144977"/>
          <a:ext cx="7248463" cy="257450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5" name="Rectángulo 4"/>
          <p:cNvSpPr/>
          <p:nvPr/>
        </p:nvSpPr>
        <p:spPr>
          <a:xfrm>
            <a:off x="502024" y="1703294"/>
            <a:ext cx="1389639" cy="933492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6" name="Rectángulo 5"/>
          <p:cNvSpPr/>
          <p:nvPr/>
        </p:nvSpPr>
        <p:spPr>
          <a:xfrm>
            <a:off x="2018791" y="1703294"/>
            <a:ext cx="1389639" cy="933492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7" name="Rectángulo 6"/>
          <p:cNvSpPr/>
          <p:nvPr/>
        </p:nvSpPr>
        <p:spPr>
          <a:xfrm>
            <a:off x="3535558" y="1703294"/>
            <a:ext cx="1389639" cy="933492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8" name="Rectángulo 7"/>
          <p:cNvSpPr/>
          <p:nvPr/>
        </p:nvSpPr>
        <p:spPr>
          <a:xfrm>
            <a:off x="5052325" y="1703294"/>
            <a:ext cx="1389639" cy="933492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9" name="Rectángulo 8"/>
          <p:cNvSpPr/>
          <p:nvPr/>
        </p:nvSpPr>
        <p:spPr>
          <a:xfrm>
            <a:off x="6569092" y="1703294"/>
            <a:ext cx="1389639" cy="933492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10" name="Rectángulo 9"/>
          <p:cNvSpPr/>
          <p:nvPr/>
        </p:nvSpPr>
        <p:spPr>
          <a:xfrm>
            <a:off x="8085858" y="1703294"/>
            <a:ext cx="1389639" cy="933492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cxnSp>
        <p:nvCxnSpPr>
          <p:cNvPr id="11" name="Conector angular 10"/>
          <p:cNvCxnSpPr>
            <a:stCxn id="10" idx="2"/>
          </p:cNvCxnSpPr>
          <p:nvPr/>
        </p:nvCxnSpPr>
        <p:spPr>
          <a:xfrm rot="5400000">
            <a:off x="7882673" y="2392045"/>
            <a:ext cx="653264" cy="1142747"/>
          </a:xfrm>
          <a:prstGeom prst="bentConnector2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CuadroTexto 11"/>
          <p:cNvSpPr txBox="1"/>
          <p:nvPr/>
        </p:nvSpPr>
        <p:spPr>
          <a:xfrm>
            <a:off x="2088781" y="1775012"/>
            <a:ext cx="127298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1600"/>
              <a:t>Dic 2015</a:t>
            </a:r>
          </a:p>
        </p:txBody>
      </p:sp>
      <p:sp>
        <p:nvSpPr>
          <p:cNvPr id="13" name="CuadroTexto 12"/>
          <p:cNvSpPr txBox="1"/>
          <p:nvPr/>
        </p:nvSpPr>
        <p:spPr>
          <a:xfrm>
            <a:off x="3594720" y="1775012"/>
            <a:ext cx="127298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1600"/>
              <a:t>Dic 2016</a:t>
            </a:r>
          </a:p>
        </p:txBody>
      </p:sp>
      <p:sp>
        <p:nvSpPr>
          <p:cNvPr id="14" name="CuadroTexto 13"/>
          <p:cNvSpPr txBox="1"/>
          <p:nvPr/>
        </p:nvSpPr>
        <p:spPr>
          <a:xfrm>
            <a:off x="5118643" y="1775012"/>
            <a:ext cx="127298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1600"/>
              <a:t>Dic 2017</a:t>
            </a:r>
          </a:p>
        </p:txBody>
      </p:sp>
      <p:sp>
        <p:nvSpPr>
          <p:cNvPr id="15" name="CuadroTexto 14"/>
          <p:cNvSpPr txBox="1"/>
          <p:nvPr/>
        </p:nvSpPr>
        <p:spPr>
          <a:xfrm>
            <a:off x="6633574" y="1775012"/>
            <a:ext cx="127298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1600"/>
              <a:t>Dic 2018</a:t>
            </a:r>
          </a:p>
        </p:txBody>
      </p:sp>
      <p:sp>
        <p:nvSpPr>
          <p:cNvPr id="16" name="CuadroTexto 15"/>
          <p:cNvSpPr txBox="1"/>
          <p:nvPr/>
        </p:nvSpPr>
        <p:spPr>
          <a:xfrm>
            <a:off x="8148503" y="1775012"/>
            <a:ext cx="127298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1600"/>
              <a:t>Dic 2019</a:t>
            </a:r>
          </a:p>
        </p:txBody>
      </p:sp>
      <p:sp>
        <p:nvSpPr>
          <p:cNvPr id="17" name="CuadroTexto 16"/>
          <p:cNvSpPr txBox="1"/>
          <p:nvPr/>
        </p:nvSpPr>
        <p:spPr>
          <a:xfrm>
            <a:off x="573850" y="1775012"/>
            <a:ext cx="127298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1600"/>
              <a:t>2015</a:t>
            </a:r>
          </a:p>
        </p:txBody>
      </p:sp>
      <p:sp>
        <p:nvSpPr>
          <p:cNvPr id="18" name="CuadroTexto 17"/>
          <p:cNvSpPr txBox="1"/>
          <p:nvPr/>
        </p:nvSpPr>
        <p:spPr>
          <a:xfrm>
            <a:off x="609764" y="2113566"/>
            <a:ext cx="120116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1400"/>
              <a:t>Planificación inicial</a:t>
            </a:r>
          </a:p>
        </p:txBody>
      </p:sp>
      <p:sp>
        <p:nvSpPr>
          <p:cNvPr id="19" name="CuadroTexto 18"/>
          <p:cNvSpPr txBox="1"/>
          <p:nvPr/>
        </p:nvSpPr>
        <p:spPr>
          <a:xfrm>
            <a:off x="8184417" y="2113566"/>
            <a:ext cx="120116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1400"/>
              <a:t>Revisión</a:t>
            </a:r>
          </a:p>
        </p:txBody>
      </p:sp>
      <p:sp>
        <p:nvSpPr>
          <p:cNvPr id="20" name="CuadroTexto 19"/>
          <p:cNvSpPr txBox="1"/>
          <p:nvPr/>
        </p:nvSpPr>
        <p:spPr>
          <a:xfrm>
            <a:off x="2018792" y="2113566"/>
            <a:ext cx="138963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1400"/>
              <a:t>Revisión</a:t>
            </a:r>
          </a:p>
          <a:p>
            <a:pPr algn="ctr"/>
            <a:r>
              <a:rPr lang="es-ES" sz="1400"/>
              <a:t>Reformulación</a:t>
            </a:r>
          </a:p>
        </p:txBody>
      </p:sp>
      <p:sp>
        <p:nvSpPr>
          <p:cNvPr id="21" name="CuadroTexto 20"/>
          <p:cNvSpPr txBox="1"/>
          <p:nvPr/>
        </p:nvSpPr>
        <p:spPr>
          <a:xfrm>
            <a:off x="3535559" y="2113566"/>
            <a:ext cx="138963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1400"/>
              <a:t>Revisión</a:t>
            </a:r>
          </a:p>
          <a:p>
            <a:pPr algn="ctr"/>
            <a:r>
              <a:rPr lang="es-ES" sz="1400"/>
              <a:t>Reformulación</a:t>
            </a:r>
          </a:p>
        </p:txBody>
      </p:sp>
      <p:sp>
        <p:nvSpPr>
          <p:cNvPr id="22" name="CuadroTexto 21"/>
          <p:cNvSpPr txBox="1"/>
          <p:nvPr/>
        </p:nvSpPr>
        <p:spPr>
          <a:xfrm>
            <a:off x="5052326" y="2113566"/>
            <a:ext cx="138963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1400"/>
              <a:t>Revisión</a:t>
            </a:r>
          </a:p>
          <a:p>
            <a:pPr algn="ctr"/>
            <a:r>
              <a:rPr lang="es-ES" sz="1400"/>
              <a:t>Reformulación</a:t>
            </a:r>
          </a:p>
        </p:txBody>
      </p:sp>
      <p:sp>
        <p:nvSpPr>
          <p:cNvPr id="23" name="CuadroTexto 22"/>
          <p:cNvSpPr txBox="1"/>
          <p:nvPr/>
        </p:nvSpPr>
        <p:spPr>
          <a:xfrm>
            <a:off x="6569093" y="2113566"/>
            <a:ext cx="138413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1400"/>
              <a:t>Revisión</a:t>
            </a:r>
          </a:p>
          <a:p>
            <a:pPr algn="ctr"/>
            <a:r>
              <a:rPr lang="es-ES" sz="1400"/>
              <a:t>Reformulación</a:t>
            </a:r>
          </a:p>
        </p:txBody>
      </p:sp>
    </p:spTree>
    <p:extLst>
      <p:ext uri="{BB962C8B-B14F-4D97-AF65-F5344CB8AC3E}">
        <p14:creationId xmlns:p14="http://schemas.microsoft.com/office/powerpoint/2010/main" val="2716522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 txBox="1">
            <a:spLocks/>
          </p:cNvSpPr>
          <p:nvPr/>
        </p:nvSpPr>
        <p:spPr>
          <a:xfrm>
            <a:off x="295135" y="280021"/>
            <a:ext cx="6756454" cy="271914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spcBef>
                <a:spcPts val="0"/>
              </a:spcBef>
            </a:pPr>
            <a:r>
              <a:rPr lang="es-ES" sz="1800" b="1">
                <a:solidFill>
                  <a:srgbClr val="0FA8DC"/>
                </a:solidFill>
                <a:latin typeface="+mn-lt"/>
              </a:rPr>
              <a:t>Metodología de reformulación anual del Plan Estratégico</a:t>
            </a:r>
            <a:endParaRPr lang="es-ES" sz="1800" b="1" i="1">
              <a:solidFill>
                <a:srgbClr val="0FA8DC"/>
              </a:solidFill>
              <a:latin typeface="+mn-lt"/>
            </a:endParaRPr>
          </a:p>
        </p:txBody>
      </p:sp>
      <p:pic>
        <p:nvPicPr>
          <p:cNvPr id="3" name="22 Imagen" descr="Logo SePIR grande jpg.JPG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4416905" y="6277659"/>
            <a:ext cx="1288952" cy="374591"/>
          </a:xfrm>
          <a:prstGeom prst="rect">
            <a:avLst/>
          </a:prstGeom>
        </p:spPr>
      </p:pic>
      <p:sp>
        <p:nvSpPr>
          <p:cNvPr id="4" name="CuadroTexto 3"/>
          <p:cNvSpPr txBox="1"/>
          <p:nvPr/>
        </p:nvSpPr>
        <p:spPr>
          <a:xfrm>
            <a:off x="310896" y="2008170"/>
            <a:ext cx="9107424" cy="267150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800100" lvl="1" indent="-342900" algn="l" fontAlgn="auto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Font typeface="+mj-lt"/>
              <a:buAutoNum type="arabicPeriod"/>
            </a:pPr>
            <a:r>
              <a:rPr lang="es-ES" sz="2800" b="1">
                <a:solidFill>
                  <a:srgbClr val="B81B49"/>
                </a:solidFill>
                <a:latin typeface="Calibri" panose="020F0502020204030204"/>
              </a:rPr>
              <a:t>Análisis de actividades no finalizadas</a:t>
            </a:r>
            <a:endParaRPr lang="es-ES" sz="2800">
              <a:solidFill>
                <a:srgbClr val="B81B49"/>
              </a:solidFill>
              <a:latin typeface="Calibri" panose="020F0502020204030204"/>
            </a:endParaRPr>
          </a:p>
          <a:p>
            <a:pPr marL="1257300" lvl="2" indent="-342900" algn="l" fontAlgn="auto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s-ES" sz="2400">
                <a:solidFill>
                  <a:srgbClr val="212B6C"/>
                </a:solidFill>
                <a:latin typeface="Calibri" panose="020F0502020204030204"/>
              </a:rPr>
              <a:t>Eliminar la actividad.</a:t>
            </a:r>
          </a:p>
          <a:p>
            <a:pPr marL="1257300" lvl="2" indent="-342900" algn="l" fontAlgn="auto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s-ES" sz="2400">
                <a:solidFill>
                  <a:srgbClr val="212B6C"/>
                </a:solidFill>
                <a:latin typeface="Calibri" panose="020F0502020204030204"/>
              </a:rPr>
              <a:t>Planificar la actividad para otra anualidad.</a:t>
            </a:r>
          </a:p>
          <a:p>
            <a:pPr marL="1257300" lvl="2" indent="-342900" algn="l" fontAlgn="auto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s-ES" sz="2400">
                <a:solidFill>
                  <a:srgbClr val="212B6C"/>
                </a:solidFill>
                <a:latin typeface="Calibri" panose="020F0502020204030204"/>
              </a:rPr>
              <a:t>Modificar y planificar la actividad para otra anualidad.</a:t>
            </a:r>
          </a:p>
          <a:p>
            <a:pPr marL="800100" lvl="1" indent="-342900" algn="l" fontAlgn="auto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Font typeface="+mj-lt"/>
              <a:buAutoNum type="arabicPeriod"/>
            </a:pPr>
            <a:r>
              <a:rPr lang="es-ES" sz="2800" b="1">
                <a:solidFill>
                  <a:srgbClr val="B81B49"/>
                </a:solidFill>
                <a:latin typeface="Calibri" panose="020F0502020204030204"/>
              </a:rPr>
              <a:t>Inclusión de nuevas actividades</a:t>
            </a:r>
            <a:endParaRPr lang="es-ES" sz="2800">
              <a:solidFill>
                <a:srgbClr val="B81B49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17754324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663977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Agrupar 1"/>
          <p:cNvGrpSpPr/>
          <p:nvPr/>
        </p:nvGrpSpPr>
        <p:grpSpPr>
          <a:xfrm>
            <a:off x="1208692" y="1120346"/>
            <a:ext cx="7256027" cy="4437397"/>
            <a:chOff x="516151" y="131310"/>
            <a:chExt cx="8886768" cy="5434671"/>
          </a:xfrm>
        </p:grpSpPr>
        <p:pic>
          <p:nvPicPr>
            <p:cNvPr id="3" name="Imagen 2"/>
            <p:cNvPicPr>
              <a:picLocks noChangeAspect="1"/>
            </p:cNvPicPr>
            <p:nvPr/>
          </p:nvPicPr>
          <p:blipFill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16151" y="921775"/>
              <a:ext cx="8886768" cy="4453636"/>
            </a:xfrm>
            <a:prstGeom prst="rect">
              <a:avLst/>
            </a:prstGeom>
          </p:spPr>
        </p:pic>
        <p:sp>
          <p:nvSpPr>
            <p:cNvPr id="4" name="64 Rectángulo redondeado"/>
            <p:cNvSpPr/>
            <p:nvPr>
              <p:custDataLst>
                <p:tags r:id="rId1"/>
              </p:custDataLst>
            </p:nvPr>
          </p:nvSpPr>
          <p:spPr bwMode="ltGray">
            <a:xfrm>
              <a:off x="773194" y="4217631"/>
              <a:ext cx="1672781" cy="463891"/>
            </a:xfrm>
            <a:prstGeom prst="roundRect">
              <a:avLst>
                <a:gd name="adj" fmla="val 0"/>
              </a:avLst>
            </a:prstGeom>
            <a:noFill/>
            <a:ln w="9525" algn="ctr">
              <a:noFill/>
              <a:miter lim="800000"/>
              <a:headEnd/>
              <a:tailEnd/>
            </a:ln>
            <a:effectLst/>
            <a:scene3d>
              <a:camera prst="orthographicFront">
                <a:rot lat="0" lon="0" rev="0"/>
              </a:camera>
              <a:lightRig rig="contrasting" dir="t">
                <a:rot lat="0" lon="0" rev="1500000"/>
              </a:lightRig>
            </a:scene3d>
            <a:sp3d prstMaterial="metal"/>
          </p:spPr>
          <p:txBody>
            <a:bodyPr tIns="36000" anchor="ctr"/>
            <a:lstStyle>
              <a:lvl1pPr eaLnBrk="0" hangingPunct="0"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1pPr>
              <a:lvl2pPr marL="742950" indent="-285750" eaLnBrk="0" hangingPunct="0"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2pPr>
              <a:lvl3pPr marL="1143000" indent="-228600" eaLnBrk="0" hangingPunct="0"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3pPr>
              <a:lvl4pPr marL="1600200" indent="-228600" eaLnBrk="0" hangingPunct="0"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4pPr>
              <a:lvl5pPr marL="2057400" indent="-228600" eaLnBrk="0" hangingPunct="0"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5pPr>
              <a:lvl6pPr marL="25146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6pPr>
              <a:lvl7pPr marL="29718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7pPr>
              <a:lvl8pPr marL="34290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8pPr>
              <a:lvl9pPr marL="38862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9pPr>
            </a:lstStyle>
            <a:p>
              <a:pPr algn="ctr" eaLnBrk="1" hangingPunct="1">
                <a:spcBef>
                  <a:spcPts val="300"/>
                </a:spcBef>
              </a:pPr>
              <a:r>
                <a:rPr lang="es-ES" altLang="es-ES" sz="1400" b="1">
                  <a:solidFill>
                    <a:schemeClr val="tx1"/>
                  </a:solidFill>
                  <a:latin typeface="+mn-lt"/>
                  <a:cs typeface="Arial" panose="020B0604020202020204" pitchFamily="34" charset="0"/>
                </a:rPr>
                <a:t>Construir un Plan viable  </a:t>
              </a:r>
            </a:p>
          </p:txBody>
        </p:sp>
        <p:sp>
          <p:nvSpPr>
            <p:cNvPr id="5" name="65 Rectángulo redondeado"/>
            <p:cNvSpPr/>
            <p:nvPr>
              <p:custDataLst>
                <p:tags r:id="rId2"/>
              </p:custDataLst>
            </p:nvPr>
          </p:nvSpPr>
          <p:spPr bwMode="ltGray">
            <a:xfrm>
              <a:off x="2184630" y="2307096"/>
              <a:ext cx="1539232" cy="912695"/>
            </a:xfrm>
            <a:prstGeom prst="roundRect">
              <a:avLst>
                <a:gd name="adj" fmla="val 0"/>
              </a:avLst>
            </a:prstGeom>
            <a:noFill/>
            <a:ln w="9525" algn="ctr">
              <a:noFill/>
              <a:miter lim="800000"/>
              <a:headEnd/>
              <a:tailEnd/>
            </a:ln>
            <a:effectLst/>
            <a:scene3d>
              <a:camera prst="orthographicFront">
                <a:rot lat="0" lon="0" rev="0"/>
              </a:camera>
              <a:lightRig rig="contrasting" dir="t">
                <a:rot lat="0" lon="0" rev="1500000"/>
              </a:lightRig>
            </a:scene3d>
            <a:sp3d prstMaterial="metal"/>
          </p:spPr>
          <p:txBody>
            <a:bodyPr tIns="36000" anchor="ctr"/>
            <a:lstStyle>
              <a:lvl1pPr eaLnBrk="0" hangingPunct="0"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1pPr>
              <a:lvl2pPr marL="742950" indent="-285750" eaLnBrk="0" hangingPunct="0"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2pPr>
              <a:lvl3pPr marL="1143000" indent="-228600" eaLnBrk="0" hangingPunct="0"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3pPr>
              <a:lvl4pPr marL="1600200" indent="-228600" eaLnBrk="0" hangingPunct="0"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4pPr>
              <a:lvl5pPr marL="2057400" indent="-228600" eaLnBrk="0" hangingPunct="0"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5pPr>
              <a:lvl6pPr marL="25146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6pPr>
              <a:lvl7pPr marL="29718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7pPr>
              <a:lvl8pPr marL="34290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8pPr>
              <a:lvl9pPr marL="38862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9pPr>
            </a:lstStyle>
            <a:p>
              <a:pPr algn="ctr" eaLnBrk="1" hangingPunct="1">
                <a:spcBef>
                  <a:spcPts val="300"/>
                </a:spcBef>
              </a:pPr>
              <a:r>
                <a:rPr lang="es-ES" altLang="es-ES" sz="1400" b="1">
                  <a:solidFill>
                    <a:schemeClr val="tx1"/>
                  </a:solidFill>
                  <a:latin typeface="+mn-lt"/>
                  <a:cs typeface="Arial" panose="020B0604020202020204" pitchFamily="34" charset="0"/>
                </a:rPr>
                <a:t>Un plan adaptado al contexto y tendencias</a:t>
              </a:r>
            </a:p>
          </p:txBody>
        </p:sp>
        <p:sp>
          <p:nvSpPr>
            <p:cNvPr id="6" name="69 Rectángulo redondeado"/>
            <p:cNvSpPr/>
            <p:nvPr>
              <p:custDataLst>
                <p:tags r:id="rId3"/>
              </p:custDataLst>
            </p:nvPr>
          </p:nvSpPr>
          <p:spPr bwMode="ltGray">
            <a:xfrm>
              <a:off x="4078904" y="1828358"/>
              <a:ext cx="1729409" cy="683725"/>
            </a:xfrm>
            <a:prstGeom prst="roundRect">
              <a:avLst>
                <a:gd name="adj" fmla="val 0"/>
              </a:avLst>
            </a:prstGeom>
            <a:noFill/>
            <a:ln w="9525" algn="ctr">
              <a:noFill/>
              <a:miter lim="800000"/>
              <a:headEnd/>
              <a:tailEnd/>
            </a:ln>
            <a:effectLst/>
            <a:scene3d>
              <a:camera prst="orthographicFront">
                <a:rot lat="0" lon="0" rev="0"/>
              </a:camera>
              <a:lightRig rig="contrasting" dir="t">
                <a:rot lat="0" lon="0" rev="1500000"/>
              </a:lightRig>
            </a:scene3d>
            <a:sp3d prstMaterial="metal"/>
          </p:spPr>
          <p:txBody>
            <a:bodyPr tIns="36000" anchor="ctr"/>
            <a:lstStyle>
              <a:lvl1pPr eaLnBrk="0" hangingPunct="0"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1pPr>
              <a:lvl2pPr marL="742950" indent="-285750" eaLnBrk="0" hangingPunct="0"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2pPr>
              <a:lvl3pPr marL="1143000" indent="-228600" eaLnBrk="0" hangingPunct="0"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3pPr>
              <a:lvl4pPr marL="1600200" indent="-228600" eaLnBrk="0" hangingPunct="0"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4pPr>
              <a:lvl5pPr marL="2057400" indent="-228600" eaLnBrk="0" hangingPunct="0"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5pPr>
              <a:lvl6pPr marL="25146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6pPr>
              <a:lvl7pPr marL="29718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7pPr>
              <a:lvl8pPr marL="34290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8pPr>
              <a:lvl9pPr marL="38862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9pPr>
            </a:lstStyle>
            <a:p>
              <a:pPr algn="ctr" eaLnBrk="1" hangingPunct="1">
                <a:spcBef>
                  <a:spcPts val="300"/>
                </a:spcBef>
              </a:pPr>
              <a:r>
                <a:rPr lang="es-ES" altLang="es-ES" sz="1400" b="1">
                  <a:solidFill>
                    <a:schemeClr val="tx1"/>
                  </a:solidFill>
                  <a:latin typeface="+mn-lt"/>
                  <a:cs typeface="Arial" panose="020B0604020202020204" pitchFamily="34" charset="0"/>
                </a:rPr>
                <a:t>Facilitando su implantación</a:t>
              </a:r>
            </a:p>
          </p:txBody>
        </p:sp>
        <p:sp>
          <p:nvSpPr>
            <p:cNvPr id="7" name="71 Rectángulo redondeado"/>
            <p:cNvSpPr/>
            <p:nvPr>
              <p:custDataLst>
                <p:tags r:id="rId4"/>
              </p:custDataLst>
            </p:nvPr>
          </p:nvSpPr>
          <p:spPr bwMode="ltGray">
            <a:xfrm>
              <a:off x="6188386" y="2281728"/>
              <a:ext cx="1559419" cy="967154"/>
            </a:xfrm>
            <a:prstGeom prst="roundRect">
              <a:avLst>
                <a:gd name="adj" fmla="val 0"/>
              </a:avLst>
            </a:prstGeom>
            <a:noFill/>
            <a:ln w="9525" algn="ctr">
              <a:noFill/>
              <a:miter lim="800000"/>
              <a:headEnd/>
              <a:tailEnd/>
            </a:ln>
            <a:effectLst/>
            <a:scene3d>
              <a:camera prst="orthographicFront">
                <a:rot lat="0" lon="0" rev="0"/>
              </a:camera>
              <a:lightRig rig="contrasting" dir="t">
                <a:rot lat="0" lon="0" rev="1500000"/>
              </a:lightRig>
            </a:scene3d>
            <a:sp3d prstMaterial="metal"/>
          </p:spPr>
          <p:txBody>
            <a:bodyPr tIns="36000" anchor="ctr"/>
            <a:lstStyle>
              <a:lvl1pPr eaLnBrk="0" hangingPunct="0"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1pPr>
              <a:lvl2pPr marL="742950" indent="-285750" eaLnBrk="0" hangingPunct="0"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2pPr>
              <a:lvl3pPr marL="1143000" indent="-228600" eaLnBrk="0" hangingPunct="0"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3pPr>
              <a:lvl4pPr marL="1600200" indent="-228600" eaLnBrk="0" hangingPunct="0"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4pPr>
              <a:lvl5pPr marL="2057400" indent="-228600" eaLnBrk="0" hangingPunct="0"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5pPr>
              <a:lvl6pPr marL="25146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6pPr>
              <a:lvl7pPr marL="29718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7pPr>
              <a:lvl8pPr marL="34290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8pPr>
              <a:lvl9pPr marL="38862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9pPr>
            </a:lstStyle>
            <a:p>
              <a:pPr algn="ctr" eaLnBrk="1" hangingPunct="1">
                <a:spcBef>
                  <a:spcPts val="300"/>
                </a:spcBef>
              </a:pPr>
              <a:r>
                <a:rPr lang="es-ES" altLang="es-ES" sz="1400" b="1">
                  <a:solidFill>
                    <a:schemeClr val="tx1"/>
                  </a:solidFill>
                  <a:latin typeface="+mn-lt"/>
                  <a:cs typeface="Arial" panose="020B0604020202020204" pitchFamily="34" charset="0"/>
                </a:rPr>
                <a:t>Definiendo actuaciones en base a necesidades</a:t>
              </a:r>
            </a:p>
          </p:txBody>
        </p:sp>
        <p:sp>
          <p:nvSpPr>
            <p:cNvPr id="8" name="71 Rectángulo redondeado"/>
            <p:cNvSpPr/>
            <p:nvPr>
              <p:custDataLst>
                <p:tags r:id="rId5"/>
              </p:custDataLst>
            </p:nvPr>
          </p:nvSpPr>
          <p:spPr bwMode="ltGray">
            <a:xfrm>
              <a:off x="7408050" y="3891219"/>
              <a:ext cx="1749202" cy="1036002"/>
            </a:xfrm>
            <a:prstGeom prst="roundRect">
              <a:avLst>
                <a:gd name="adj" fmla="val 0"/>
              </a:avLst>
            </a:prstGeom>
            <a:noFill/>
            <a:ln w="9525" algn="ctr">
              <a:noFill/>
              <a:miter lim="800000"/>
              <a:headEnd/>
              <a:tailEnd/>
            </a:ln>
            <a:effectLst/>
            <a:scene3d>
              <a:camera prst="orthographicFront">
                <a:rot lat="0" lon="0" rev="0"/>
              </a:camera>
              <a:lightRig rig="contrasting" dir="t">
                <a:rot lat="0" lon="0" rev="1500000"/>
              </a:lightRig>
            </a:scene3d>
            <a:sp3d prstMaterial="metal"/>
          </p:spPr>
          <p:txBody>
            <a:bodyPr tIns="36000" anchor="ctr"/>
            <a:lstStyle>
              <a:lvl1pPr eaLnBrk="0" hangingPunct="0"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1pPr>
              <a:lvl2pPr marL="742950" indent="-285750" eaLnBrk="0" hangingPunct="0"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2pPr>
              <a:lvl3pPr marL="1143000" indent="-228600" eaLnBrk="0" hangingPunct="0"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3pPr>
              <a:lvl4pPr marL="1600200" indent="-228600" eaLnBrk="0" hangingPunct="0"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4pPr>
              <a:lvl5pPr marL="2057400" indent="-228600" eaLnBrk="0" hangingPunct="0"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5pPr>
              <a:lvl6pPr marL="25146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6pPr>
              <a:lvl7pPr marL="29718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7pPr>
              <a:lvl8pPr marL="34290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8pPr>
              <a:lvl9pPr marL="38862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9pPr>
            </a:lstStyle>
            <a:p>
              <a:pPr algn="ctr" eaLnBrk="1" hangingPunct="1">
                <a:spcBef>
                  <a:spcPts val="300"/>
                </a:spcBef>
              </a:pPr>
              <a:r>
                <a:rPr lang="es-ES" altLang="es-ES" sz="1600" b="1">
                  <a:solidFill>
                    <a:srgbClr val="B81B49"/>
                  </a:solidFill>
                  <a:latin typeface="Calibri" panose="020F0502020204030204" pitchFamily="34" charset="0"/>
                  <a:cs typeface="Arial" panose="020B0604020202020204" pitchFamily="34" charset="0"/>
                </a:rPr>
                <a:t>Altamente participativo, construido entre todos</a:t>
              </a:r>
            </a:p>
          </p:txBody>
        </p:sp>
        <p:sp>
          <p:nvSpPr>
            <p:cNvPr id="9" name="Rectángulo 8"/>
            <p:cNvSpPr/>
            <p:nvPr/>
          </p:nvSpPr>
          <p:spPr bwMode="ltGray">
            <a:xfrm>
              <a:off x="3837829" y="4577153"/>
              <a:ext cx="2223230" cy="988828"/>
            </a:xfrm>
            <a:prstGeom prst="rect">
              <a:avLst/>
            </a:prstGeom>
            <a:no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lnSpc>
                  <a:spcPts val="32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s-ES" sz="2800" b="1">
                  <a:solidFill>
                    <a:srgbClr val="212B6C"/>
                  </a:solidFill>
                  <a:latin typeface="Calibri" panose="020F0502020204030204" pitchFamily="34" charset="0"/>
                </a:rPr>
                <a:t>Plan estratégico previo</a:t>
              </a:r>
            </a:p>
          </p:txBody>
        </p:sp>
        <p:sp>
          <p:nvSpPr>
            <p:cNvPr id="10" name="Rectángulo 9"/>
            <p:cNvSpPr/>
            <p:nvPr/>
          </p:nvSpPr>
          <p:spPr bwMode="ltGray">
            <a:xfrm>
              <a:off x="3054701" y="131310"/>
              <a:ext cx="3729644" cy="398542"/>
            </a:xfrm>
            <a:prstGeom prst="rect">
              <a:avLst/>
            </a:prstGeom>
            <a:noFill/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lnSpc>
                  <a:spcPts val="32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s-ES" sz="2800" b="1">
                  <a:solidFill>
                    <a:srgbClr val="212B6C"/>
                  </a:solidFill>
                  <a:latin typeface="Calibri" panose="020F0502020204030204" pitchFamily="34" charset="0"/>
                </a:rPr>
                <a:t>Hospital 2020</a:t>
              </a:r>
            </a:p>
          </p:txBody>
        </p:sp>
        <p:sp>
          <p:nvSpPr>
            <p:cNvPr id="11" name="65 Rectángulo redondeado"/>
            <p:cNvSpPr/>
            <p:nvPr>
              <p:custDataLst>
                <p:tags r:id="rId6"/>
              </p:custDataLst>
            </p:nvPr>
          </p:nvSpPr>
          <p:spPr bwMode="ltGray">
            <a:xfrm>
              <a:off x="3092490" y="4995167"/>
              <a:ext cx="238086" cy="286688"/>
            </a:xfrm>
            <a:prstGeom prst="roundRect">
              <a:avLst>
                <a:gd name="adj" fmla="val 0"/>
              </a:avLst>
            </a:prstGeom>
            <a:noFill/>
            <a:ln w="9525" algn="ctr">
              <a:noFill/>
              <a:miter lim="800000"/>
              <a:headEnd/>
              <a:tailEnd/>
            </a:ln>
            <a:effectLst/>
            <a:scene3d>
              <a:camera prst="orthographicFront">
                <a:rot lat="0" lon="0" rev="0"/>
              </a:camera>
              <a:lightRig rig="contrasting" dir="t">
                <a:rot lat="0" lon="0" rev="1500000"/>
              </a:lightRig>
            </a:scene3d>
            <a:sp3d prstMaterial="metal"/>
          </p:spPr>
          <p:txBody>
            <a:bodyPr tIns="36000" anchor="ctr"/>
            <a:lstStyle>
              <a:lvl1pPr eaLnBrk="0" hangingPunct="0"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1pPr>
              <a:lvl2pPr marL="742950" indent="-285750" eaLnBrk="0" hangingPunct="0"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2pPr>
              <a:lvl3pPr marL="1143000" indent="-228600" eaLnBrk="0" hangingPunct="0"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3pPr>
              <a:lvl4pPr marL="1600200" indent="-228600" eaLnBrk="0" hangingPunct="0"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4pPr>
              <a:lvl5pPr marL="2057400" indent="-228600" eaLnBrk="0" hangingPunct="0"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5pPr>
              <a:lvl6pPr marL="25146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6pPr>
              <a:lvl7pPr marL="29718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7pPr>
              <a:lvl8pPr marL="34290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8pPr>
              <a:lvl9pPr marL="38862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9pPr>
            </a:lstStyle>
            <a:p>
              <a:pPr algn="ctr" eaLnBrk="1" hangingPunct="1">
                <a:spcBef>
                  <a:spcPts val="300"/>
                </a:spcBef>
              </a:pPr>
              <a:r>
                <a:rPr lang="es-ES" altLang="es-ES" sz="1300" b="1">
                  <a:solidFill>
                    <a:schemeClr val="tx1"/>
                  </a:solidFill>
                  <a:latin typeface="+mn-lt"/>
                  <a:cs typeface="Arial" panose="020B0604020202020204" pitchFamily="34" charset="0"/>
                </a:rPr>
                <a:t>1</a:t>
              </a:r>
            </a:p>
          </p:txBody>
        </p:sp>
        <p:sp>
          <p:nvSpPr>
            <p:cNvPr id="12" name="65 Rectángulo redondeado"/>
            <p:cNvSpPr/>
            <p:nvPr>
              <p:custDataLst>
                <p:tags r:id="rId7"/>
              </p:custDataLst>
            </p:nvPr>
          </p:nvSpPr>
          <p:spPr bwMode="ltGray">
            <a:xfrm>
              <a:off x="3716326" y="4096642"/>
              <a:ext cx="287526" cy="286688"/>
            </a:xfrm>
            <a:prstGeom prst="roundRect">
              <a:avLst>
                <a:gd name="adj" fmla="val 0"/>
              </a:avLst>
            </a:prstGeom>
            <a:noFill/>
            <a:ln w="9525" algn="ctr">
              <a:noFill/>
              <a:miter lim="800000"/>
              <a:headEnd/>
              <a:tailEnd/>
            </a:ln>
            <a:effectLst/>
            <a:scene3d>
              <a:camera prst="orthographicFront">
                <a:rot lat="0" lon="0" rev="0"/>
              </a:camera>
              <a:lightRig rig="contrasting" dir="t">
                <a:rot lat="0" lon="0" rev="1500000"/>
              </a:lightRig>
            </a:scene3d>
            <a:sp3d prstMaterial="metal"/>
          </p:spPr>
          <p:txBody>
            <a:bodyPr tIns="36000" anchor="ctr"/>
            <a:lstStyle>
              <a:lvl1pPr eaLnBrk="0" hangingPunct="0"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1pPr>
              <a:lvl2pPr marL="742950" indent="-285750" eaLnBrk="0" hangingPunct="0"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2pPr>
              <a:lvl3pPr marL="1143000" indent="-228600" eaLnBrk="0" hangingPunct="0"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3pPr>
              <a:lvl4pPr marL="1600200" indent="-228600" eaLnBrk="0" hangingPunct="0"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4pPr>
              <a:lvl5pPr marL="2057400" indent="-228600" eaLnBrk="0" hangingPunct="0"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5pPr>
              <a:lvl6pPr marL="25146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6pPr>
              <a:lvl7pPr marL="29718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7pPr>
              <a:lvl8pPr marL="34290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8pPr>
              <a:lvl9pPr marL="38862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9pPr>
            </a:lstStyle>
            <a:p>
              <a:pPr algn="ctr" eaLnBrk="1" hangingPunct="1">
                <a:spcBef>
                  <a:spcPts val="300"/>
                </a:spcBef>
              </a:pPr>
              <a:r>
                <a:rPr lang="es-ES" altLang="es-ES" sz="1300" b="1">
                  <a:solidFill>
                    <a:schemeClr val="tx1"/>
                  </a:solidFill>
                  <a:latin typeface="+mn-lt"/>
                  <a:cs typeface="Arial" panose="020B0604020202020204" pitchFamily="34" charset="0"/>
                </a:rPr>
                <a:t>2</a:t>
              </a:r>
            </a:p>
          </p:txBody>
        </p:sp>
        <p:sp>
          <p:nvSpPr>
            <p:cNvPr id="13" name="65 Rectángulo redondeado"/>
            <p:cNvSpPr/>
            <p:nvPr>
              <p:custDataLst>
                <p:tags r:id="rId8"/>
              </p:custDataLst>
            </p:nvPr>
          </p:nvSpPr>
          <p:spPr bwMode="ltGray">
            <a:xfrm>
              <a:off x="4775377" y="3747875"/>
              <a:ext cx="287526" cy="286688"/>
            </a:xfrm>
            <a:prstGeom prst="roundRect">
              <a:avLst>
                <a:gd name="adj" fmla="val 0"/>
              </a:avLst>
            </a:prstGeom>
            <a:noFill/>
            <a:ln w="9525" algn="ctr">
              <a:noFill/>
              <a:miter lim="800000"/>
              <a:headEnd/>
              <a:tailEnd/>
            </a:ln>
            <a:effectLst/>
            <a:scene3d>
              <a:camera prst="orthographicFront">
                <a:rot lat="0" lon="0" rev="0"/>
              </a:camera>
              <a:lightRig rig="contrasting" dir="t">
                <a:rot lat="0" lon="0" rev="1500000"/>
              </a:lightRig>
            </a:scene3d>
            <a:sp3d prstMaterial="metal"/>
          </p:spPr>
          <p:txBody>
            <a:bodyPr tIns="36000" anchor="ctr"/>
            <a:lstStyle>
              <a:lvl1pPr eaLnBrk="0" hangingPunct="0"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1pPr>
              <a:lvl2pPr marL="742950" indent="-285750" eaLnBrk="0" hangingPunct="0"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2pPr>
              <a:lvl3pPr marL="1143000" indent="-228600" eaLnBrk="0" hangingPunct="0"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3pPr>
              <a:lvl4pPr marL="1600200" indent="-228600" eaLnBrk="0" hangingPunct="0"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4pPr>
              <a:lvl5pPr marL="2057400" indent="-228600" eaLnBrk="0" hangingPunct="0"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5pPr>
              <a:lvl6pPr marL="25146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6pPr>
              <a:lvl7pPr marL="29718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7pPr>
              <a:lvl8pPr marL="34290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8pPr>
              <a:lvl9pPr marL="38862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9pPr>
            </a:lstStyle>
            <a:p>
              <a:pPr algn="ctr" eaLnBrk="1" hangingPunct="1">
                <a:spcBef>
                  <a:spcPts val="300"/>
                </a:spcBef>
              </a:pPr>
              <a:r>
                <a:rPr lang="es-ES" altLang="es-ES" sz="1300" b="1">
                  <a:solidFill>
                    <a:schemeClr val="tx1"/>
                  </a:solidFill>
                  <a:latin typeface="+mn-lt"/>
                  <a:cs typeface="Arial" panose="020B0604020202020204" pitchFamily="34" charset="0"/>
                </a:rPr>
                <a:t>3</a:t>
              </a:r>
            </a:p>
          </p:txBody>
        </p:sp>
        <p:sp>
          <p:nvSpPr>
            <p:cNvPr id="14" name="65 Rectángulo redondeado"/>
            <p:cNvSpPr/>
            <p:nvPr>
              <p:custDataLst>
                <p:tags r:id="rId9"/>
              </p:custDataLst>
            </p:nvPr>
          </p:nvSpPr>
          <p:spPr bwMode="ltGray">
            <a:xfrm>
              <a:off x="5843797" y="4096642"/>
              <a:ext cx="287526" cy="286688"/>
            </a:xfrm>
            <a:prstGeom prst="roundRect">
              <a:avLst>
                <a:gd name="adj" fmla="val 0"/>
              </a:avLst>
            </a:prstGeom>
            <a:noFill/>
            <a:ln w="9525" algn="ctr">
              <a:noFill/>
              <a:miter lim="800000"/>
              <a:headEnd/>
              <a:tailEnd/>
            </a:ln>
            <a:effectLst/>
            <a:scene3d>
              <a:camera prst="orthographicFront">
                <a:rot lat="0" lon="0" rev="0"/>
              </a:camera>
              <a:lightRig rig="contrasting" dir="t">
                <a:rot lat="0" lon="0" rev="1500000"/>
              </a:lightRig>
            </a:scene3d>
            <a:sp3d prstMaterial="metal"/>
          </p:spPr>
          <p:txBody>
            <a:bodyPr tIns="36000" anchor="ctr"/>
            <a:lstStyle>
              <a:lvl1pPr eaLnBrk="0" hangingPunct="0"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1pPr>
              <a:lvl2pPr marL="742950" indent="-285750" eaLnBrk="0" hangingPunct="0"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2pPr>
              <a:lvl3pPr marL="1143000" indent="-228600" eaLnBrk="0" hangingPunct="0"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3pPr>
              <a:lvl4pPr marL="1600200" indent="-228600" eaLnBrk="0" hangingPunct="0"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4pPr>
              <a:lvl5pPr marL="2057400" indent="-228600" eaLnBrk="0" hangingPunct="0"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5pPr>
              <a:lvl6pPr marL="25146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6pPr>
              <a:lvl7pPr marL="29718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7pPr>
              <a:lvl8pPr marL="34290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8pPr>
              <a:lvl9pPr marL="38862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9pPr>
            </a:lstStyle>
            <a:p>
              <a:pPr algn="ctr" eaLnBrk="1" hangingPunct="1">
                <a:spcBef>
                  <a:spcPts val="300"/>
                </a:spcBef>
              </a:pPr>
              <a:r>
                <a:rPr lang="es-ES" altLang="es-ES" sz="1300" b="1">
                  <a:solidFill>
                    <a:schemeClr val="tx1"/>
                  </a:solidFill>
                  <a:latin typeface="+mn-lt"/>
                  <a:cs typeface="Arial" panose="020B0604020202020204" pitchFamily="34" charset="0"/>
                </a:rPr>
                <a:t>4</a:t>
              </a:r>
            </a:p>
          </p:txBody>
        </p:sp>
        <p:sp>
          <p:nvSpPr>
            <p:cNvPr id="15" name="65 Rectángulo redondeado"/>
            <p:cNvSpPr/>
            <p:nvPr>
              <p:custDataLst>
                <p:tags r:id="rId10"/>
              </p:custDataLst>
            </p:nvPr>
          </p:nvSpPr>
          <p:spPr bwMode="ltGray">
            <a:xfrm>
              <a:off x="6500978" y="5004598"/>
              <a:ext cx="287526" cy="286688"/>
            </a:xfrm>
            <a:prstGeom prst="roundRect">
              <a:avLst>
                <a:gd name="adj" fmla="val 0"/>
              </a:avLst>
            </a:prstGeom>
            <a:noFill/>
            <a:ln w="9525" algn="ctr">
              <a:noFill/>
              <a:miter lim="800000"/>
              <a:headEnd/>
              <a:tailEnd/>
            </a:ln>
            <a:effectLst/>
            <a:scene3d>
              <a:camera prst="orthographicFront">
                <a:rot lat="0" lon="0" rev="0"/>
              </a:camera>
              <a:lightRig rig="contrasting" dir="t">
                <a:rot lat="0" lon="0" rev="1500000"/>
              </a:lightRig>
            </a:scene3d>
            <a:sp3d prstMaterial="metal"/>
          </p:spPr>
          <p:txBody>
            <a:bodyPr tIns="36000" anchor="ctr"/>
            <a:lstStyle>
              <a:lvl1pPr eaLnBrk="0" hangingPunct="0"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1pPr>
              <a:lvl2pPr marL="742950" indent="-285750" eaLnBrk="0" hangingPunct="0"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2pPr>
              <a:lvl3pPr marL="1143000" indent="-228600" eaLnBrk="0" hangingPunct="0"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3pPr>
              <a:lvl4pPr marL="1600200" indent="-228600" eaLnBrk="0" hangingPunct="0"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4pPr>
              <a:lvl5pPr marL="2057400" indent="-228600" eaLnBrk="0" hangingPunct="0"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5pPr>
              <a:lvl6pPr marL="25146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6pPr>
              <a:lvl7pPr marL="29718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7pPr>
              <a:lvl8pPr marL="34290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8pPr>
              <a:lvl9pPr marL="38862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9pPr>
            </a:lstStyle>
            <a:p>
              <a:pPr algn="ctr" eaLnBrk="1" hangingPunct="1">
                <a:spcBef>
                  <a:spcPts val="300"/>
                </a:spcBef>
              </a:pPr>
              <a:r>
                <a:rPr lang="es-ES" altLang="es-ES" sz="1300" b="1">
                  <a:solidFill>
                    <a:schemeClr val="tx1"/>
                  </a:solidFill>
                  <a:latin typeface="+mn-lt"/>
                  <a:cs typeface="Arial" panose="020B0604020202020204" pitchFamily="34" charset="0"/>
                </a:rPr>
                <a:t>5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3809482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uadroTexto 8"/>
          <p:cNvSpPr txBox="1">
            <a:spLocks noChangeArrowheads="1"/>
          </p:cNvSpPr>
          <p:nvPr/>
        </p:nvSpPr>
        <p:spPr bwMode="auto">
          <a:xfrm>
            <a:off x="271849" y="237801"/>
            <a:ext cx="6697362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rgbClr val="000099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1pPr>
            <a:lvl2pPr marL="742950" indent="-285750" eaLnBrk="0" hangingPunct="0">
              <a:defRPr>
                <a:solidFill>
                  <a:srgbClr val="000099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>
                <a:solidFill>
                  <a:srgbClr val="000099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>
                <a:solidFill>
                  <a:srgbClr val="000099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>
                <a:solidFill>
                  <a:srgbClr val="000099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5pPr>
            <a:lvl6pPr marL="2514600" indent="-228600" algn="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99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6pPr>
            <a:lvl7pPr marL="2971800" indent="-228600" algn="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99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7pPr>
            <a:lvl8pPr marL="3429000" indent="-228600" algn="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99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8pPr>
            <a:lvl9pPr marL="3886200" indent="-228600" algn="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99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9pPr>
          </a:lstStyle>
          <a:p>
            <a:pPr algn="l" eaLnBrk="1" hangingPunct="1"/>
            <a:r>
              <a:rPr lang="es-ES" altLang="es-ES" b="1">
                <a:solidFill>
                  <a:srgbClr val="0FA8DC"/>
                </a:solidFill>
                <a:latin typeface="+mn-lt"/>
              </a:rPr>
              <a:t>¿Cómo construimos nuestro Mapa Estratégico 2015-2019?</a:t>
            </a:r>
            <a:endParaRPr lang="es-ES" altLang="es-ES">
              <a:solidFill>
                <a:srgbClr val="0FA8DC"/>
              </a:solidFill>
              <a:latin typeface="+mn-lt"/>
            </a:endParaRPr>
          </a:p>
        </p:txBody>
      </p:sp>
      <p:grpSp>
        <p:nvGrpSpPr>
          <p:cNvPr id="3" name="Grupo 2"/>
          <p:cNvGrpSpPr/>
          <p:nvPr/>
        </p:nvGrpSpPr>
        <p:grpSpPr>
          <a:xfrm>
            <a:off x="658019" y="1128199"/>
            <a:ext cx="8575947" cy="4835900"/>
            <a:chOff x="658019" y="1128199"/>
            <a:chExt cx="8575947" cy="4835900"/>
          </a:xfrm>
        </p:grpSpPr>
        <p:sp>
          <p:nvSpPr>
            <p:cNvPr id="4" name="Elipse 3"/>
            <p:cNvSpPr/>
            <p:nvPr/>
          </p:nvSpPr>
          <p:spPr>
            <a:xfrm>
              <a:off x="959769" y="1239669"/>
              <a:ext cx="1699628" cy="1699628"/>
            </a:xfrm>
            <a:prstGeom prst="ellipse">
              <a:avLst/>
            </a:prstGeom>
            <a:solidFill>
              <a:srgbClr val="0FA8DC">
                <a:alpha val="35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/>
            </a:p>
          </p:txBody>
        </p:sp>
        <p:sp>
          <p:nvSpPr>
            <p:cNvPr id="5" name="Elipse 4"/>
            <p:cNvSpPr/>
            <p:nvPr/>
          </p:nvSpPr>
          <p:spPr>
            <a:xfrm>
              <a:off x="4181679" y="1128199"/>
              <a:ext cx="1699628" cy="1699628"/>
            </a:xfrm>
            <a:prstGeom prst="ellipse">
              <a:avLst/>
            </a:prstGeom>
            <a:solidFill>
              <a:srgbClr val="0FA8DC">
                <a:alpha val="35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/>
            </a:p>
          </p:txBody>
        </p:sp>
        <p:sp>
          <p:nvSpPr>
            <p:cNvPr id="6" name="Elipse 5"/>
            <p:cNvSpPr/>
            <p:nvPr/>
          </p:nvSpPr>
          <p:spPr>
            <a:xfrm>
              <a:off x="7534338" y="1171927"/>
              <a:ext cx="1699628" cy="1699628"/>
            </a:xfrm>
            <a:prstGeom prst="ellipse">
              <a:avLst/>
            </a:prstGeom>
            <a:solidFill>
              <a:srgbClr val="0FA8DC">
                <a:alpha val="35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/>
            </a:p>
          </p:txBody>
        </p:sp>
        <p:sp>
          <p:nvSpPr>
            <p:cNvPr id="7" name="Elipse 6"/>
            <p:cNvSpPr/>
            <p:nvPr/>
          </p:nvSpPr>
          <p:spPr>
            <a:xfrm>
              <a:off x="7363584" y="4041635"/>
              <a:ext cx="1699628" cy="1699628"/>
            </a:xfrm>
            <a:prstGeom prst="ellipse">
              <a:avLst/>
            </a:prstGeom>
            <a:solidFill>
              <a:srgbClr val="0FA8DC">
                <a:alpha val="35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/>
            </a:p>
          </p:txBody>
        </p:sp>
        <p:sp>
          <p:nvSpPr>
            <p:cNvPr id="8" name="Elipse 7"/>
            <p:cNvSpPr/>
            <p:nvPr/>
          </p:nvSpPr>
          <p:spPr>
            <a:xfrm>
              <a:off x="3960325" y="4264471"/>
              <a:ext cx="1699628" cy="1699628"/>
            </a:xfrm>
            <a:prstGeom prst="ellipse">
              <a:avLst/>
            </a:prstGeom>
            <a:solidFill>
              <a:srgbClr val="0FA8DC">
                <a:alpha val="35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/>
            </a:p>
          </p:txBody>
        </p:sp>
        <p:sp>
          <p:nvSpPr>
            <p:cNvPr id="9" name="Elipse 8"/>
            <p:cNvSpPr/>
            <p:nvPr/>
          </p:nvSpPr>
          <p:spPr>
            <a:xfrm>
              <a:off x="658019" y="4071621"/>
              <a:ext cx="1699628" cy="1699628"/>
            </a:xfrm>
            <a:prstGeom prst="ellipse">
              <a:avLst/>
            </a:prstGeom>
            <a:solidFill>
              <a:srgbClr val="0FA8DC">
                <a:alpha val="35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/>
            </a:p>
          </p:txBody>
        </p:sp>
        <p:sp>
          <p:nvSpPr>
            <p:cNvPr id="10" name="Rectángulo 9"/>
            <p:cNvSpPr>
              <a:spLocks noChangeArrowheads="1"/>
            </p:cNvSpPr>
            <p:nvPr/>
          </p:nvSpPr>
          <p:spPr bwMode="auto">
            <a:xfrm>
              <a:off x="4241990" y="1619049"/>
              <a:ext cx="1567543" cy="717928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anchor="ctr"/>
            <a:lstStyle>
              <a:lvl1pPr eaLnBrk="0" hangingPunct="0"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1pPr>
              <a:lvl2pPr marL="742950" indent="-285750" eaLnBrk="0" hangingPunct="0"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2pPr>
              <a:lvl3pPr marL="1143000" indent="-228600" eaLnBrk="0" hangingPunct="0"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3pPr>
              <a:lvl4pPr marL="1600200" indent="-228600" eaLnBrk="0" hangingPunct="0"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4pPr>
              <a:lvl5pPr marL="2057400" indent="-228600" eaLnBrk="0" hangingPunct="0"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5pPr>
              <a:lvl6pPr marL="25146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6pPr>
              <a:lvl7pPr marL="29718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7pPr>
              <a:lvl8pPr marL="34290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8pPr>
              <a:lvl9pPr marL="38862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9pPr>
            </a:lstStyle>
            <a:p>
              <a:pPr algn="ctr" eaLnBrk="1" hangingPunct="1"/>
              <a:r>
                <a:rPr lang="es-ES" altLang="es-ES" sz="1500" b="1">
                  <a:solidFill>
                    <a:srgbClr val="212B6C"/>
                  </a:solidFill>
                  <a:latin typeface="+mn-lt"/>
                </a:rPr>
                <a:t>Opinión de alianzas y colaboradores</a:t>
              </a:r>
            </a:p>
          </p:txBody>
        </p:sp>
        <p:sp>
          <p:nvSpPr>
            <p:cNvPr id="11" name="Rectángulo 10"/>
            <p:cNvSpPr>
              <a:spLocks noChangeArrowheads="1"/>
            </p:cNvSpPr>
            <p:nvPr/>
          </p:nvSpPr>
          <p:spPr bwMode="auto">
            <a:xfrm>
              <a:off x="972767" y="1840730"/>
              <a:ext cx="1686630" cy="536575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anchor="ctr"/>
            <a:lstStyle>
              <a:lvl1pPr eaLnBrk="0" hangingPunct="0"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1pPr>
              <a:lvl2pPr marL="742950" indent="-285750" eaLnBrk="0" hangingPunct="0"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2pPr>
              <a:lvl3pPr marL="1143000" indent="-228600" eaLnBrk="0" hangingPunct="0"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3pPr>
              <a:lvl4pPr marL="1600200" indent="-228600" eaLnBrk="0" hangingPunct="0"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4pPr>
              <a:lvl5pPr marL="2057400" indent="-228600" eaLnBrk="0" hangingPunct="0"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5pPr>
              <a:lvl6pPr marL="25146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6pPr>
              <a:lvl7pPr marL="29718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7pPr>
              <a:lvl8pPr marL="34290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8pPr>
              <a:lvl9pPr marL="38862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9pPr>
            </a:lstStyle>
            <a:p>
              <a:pPr algn="ctr" eaLnBrk="1" hangingPunct="1"/>
              <a:r>
                <a:rPr lang="es-ES" altLang="es-ES" sz="1500" b="1">
                  <a:solidFill>
                    <a:srgbClr val="212B6C"/>
                  </a:solidFill>
                  <a:latin typeface="+mn-lt"/>
                </a:rPr>
                <a:t>Participación de profesionales</a:t>
              </a:r>
            </a:p>
          </p:txBody>
        </p:sp>
        <p:sp>
          <p:nvSpPr>
            <p:cNvPr id="12" name="Rectángulo 11"/>
            <p:cNvSpPr>
              <a:spLocks noChangeArrowheads="1"/>
            </p:cNvSpPr>
            <p:nvPr/>
          </p:nvSpPr>
          <p:spPr bwMode="auto">
            <a:xfrm>
              <a:off x="7794573" y="1753453"/>
              <a:ext cx="1179159" cy="536575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anchor="ctr"/>
            <a:lstStyle>
              <a:lvl1pPr eaLnBrk="0" hangingPunct="0"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1pPr>
              <a:lvl2pPr marL="742950" indent="-285750" eaLnBrk="0" hangingPunct="0"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2pPr>
              <a:lvl3pPr marL="1143000" indent="-228600" eaLnBrk="0" hangingPunct="0"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3pPr>
              <a:lvl4pPr marL="1600200" indent="-228600" eaLnBrk="0" hangingPunct="0"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4pPr>
              <a:lvl5pPr marL="2057400" indent="-228600" eaLnBrk="0" hangingPunct="0"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5pPr>
              <a:lvl6pPr marL="25146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6pPr>
              <a:lvl7pPr marL="29718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7pPr>
              <a:lvl8pPr marL="34290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8pPr>
              <a:lvl9pPr marL="38862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9pPr>
            </a:lstStyle>
            <a:p>
              <a:pPr algn="ctr" eaLnBrk="1" hangingPunct="1"/>
              <a:r>
                <a:rPr lang="es-ES" altLang="es-ES" sz="1500" b="1">
                  <a:solidFill>
                    <a:srgbClr val="212B6C"/>
                  </a:solidFill>
                  <a:latin typeface="+mn-lt"/>
                </a:rPr>
                <a:t>Opinión de nuestro entorno</a:t>
              </a:r>
            </a:p>
          </p:txBody>
        </p:sp>
        <p:sp>
          <p:nvSpPr>
            <p:cNvPr id="13" name="Rectángulo 12"/>
            <p:cNvSpPr>
              <a:spLocks noChangeArrowheads="1"/>
            </p:cNvSpPr>
            <p:nvPr/>
          </p:nvSpPr>
          <p:spPr bwMode="auto">
            <a:xfrm>
              <a:off x="4065126" y="4804080"/>
              <a:ext cx="1490026" cy="542925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anchor="ctr"/>
            <a:lstStyle>
              <a:lvl1pPr eaLnBrk="0" hangingPunct="0"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1pPr>
              <a:lvl2pPr marL="742950" indent="-285750" eaLnBrk="0" hangingPunct="0"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2pPr>
              <a:lvl3pPr marL="1143000" indent="-228600" eaLnBrk="0" hangingPunct="0"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3pPr>
              <a:lvl4pPr marL="1600200" indent="-228600" eaLnBrk="0" hangingPunct="0"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4pPr>
              <a:lvl5pPr marL="2057400" indent="-228600" eaLnBrk="0" hangingPunct="0"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5pPr>
              <a:lvl6pPr marL="25146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6pPr>
              <a:lvl7pPr marL="29718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7pPr>
              <a:lvl8pPr marL="34290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8pPr>
              <a:lvl9pPr marL="38862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9pPr>
            </a:lstStyle>
            <a:p>
              <a:pPr algn="ctr" eaLnBrk="1" hangingPunct="1"/>
              <a:r>
                <a:rPr lang="es-ES" altLang="es-ES" sz="1500" b="1">
                  <a:solidFill>
                    <a:srgbClr val="212B6C"/>
                  </a:solidFill>
                  <a:latin typeface="+mn-lt"/>
                </a:rPr>
                <a:t>Talleres de trabajo estratégicos</a:t>
              </a:r>
            </a:p>
          </p:txBody>
        </p:sp>
        <p:sp>
          <p:nvSpPr>
            <p:cNvPr id="14" name="Rectángulo 13"/>
            <p:cNvSpPr>
              <a:spLocks noChangeArrowheads="1"/>
            </p:cNvSpPr>
            <p:nvPr/>
          </p:nvSpPr>
          <p:spPr bwMode="auto">
            <a:xfrm>
              <a:off x="658019" y="4294457"/>
              <a:ext cx="1703528" cy="1291752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anchor="ctr"/>
            <a:lstStyle>
              <a:lvl1pPr eaLnBrk="0" hangingPunct="0"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1pPr>
              <a:lvl2pPr marL="742950" indent="-285750" eaLnBrk="0" hangingPunct="0"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2pPr>
              <a:lvl3pPr marL="1143000" indent="-228600" eaLnBrk="0" hangingPunct="0"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3pPr>
              <a:lvl4pPr marL="1600200" indent="-228600" eaLnBrk="0" hangingPunct="0"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4pPr>
              <a:lvl5pPr marL="2057400" indent="-228600" eaLnBrk="0" hangingPunct="0"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5pPr>
              <a:lvl6pPr marL="25146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6pPr>
              <a:lvl7pPr marL="29718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7pPr>
              <a:lvl8pPr marL="34290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8pPr>
              <a:lvl9pPr marL="38862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9pPr>
            </a:lstStyle>
            <a:p>
              <a:pPr algn="ctr" eaLnBrk="1" hangingPunct="1"/>
              <a:r>
                <a:rPr lang="es-ES" altLang="es-ES" sz="1500" b="1">
                  <a:solidFill>
                    <a:srgbClr val="212B6C"/>
                  </a:solidFill>
                  <a:latin typeface="+mn-lt"/>
                </a:rPr>
                <a:t>Revisión de experiencias previas </a:t>
              </a:r>
            </a:p>
            <a:p>
              <a:pPr algn="ctr" eaLnBrk="1" hangingPunct="1"/>
              <a:r>
                <a:rPr lang="es-ES" altLang="es-ES" sz="1500">
                  <a:solidFill>
                    <a:srgbClr val="212B6C"/>
                  </a:solidFill>
                  <a:latin typeface="+mn-lt"/>
                </a:rPr>
                <a:t>Plan estratégico 2007-2011</a:t>
              </a:r>
            </a:p>
          </p:txBody>
        </p:sp>
        <p:sp>
          <p:nvSpPr>
            <p:cNvPr id="15" name="Rectángulo 14"/>
            <p:cNvSpPr>
              <a:spLocks noChangeArrowheads="1"/>
            </p:cNvSpPr>
            <p:nvPr/>
          </p:nvSpPr>
          <p:spPr bwMode="auto">
            <a:xfrm>
              <a:off x="7363584" y="4424481"/>
              <a:ext cx="1699628" cy="1025652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anchor="ctr"/>
            <a:lstStyle>
              <a:lvl1pPr eaLnBrk="0" hangingPunct="0"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1pPr>
              <a:lvl2pPr marL="742950" indent="-285750" eaLnBrk="0" hangingPunct="0"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2pPr>
              <a:lvl3pPr marL="1143000" indent="-228600" eaLnBrk="0" hangingPunct="0"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3pPr>
              <a:lvl4pPr marL="1600200" indent="-228600" eaLnBrk="0" hangingPunct="0"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4pPr>
              <a:lvl5pPr marL="2057400" indent="-228600" eaLnBrk="0" hangingPunct="0"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5pPr>
              <a:lvl6pPr marL="25146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6pPr>
              <a:lvl7pPr marL="29718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7pPr>
              <a:lvl8pPr marL="34290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8pPr>
              <a:lvl9pPr marL="38862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9pPr>
            </a:lstStyle>
            <a:p>
              <a:pPr algn="ctr" eaLnBrk="1" hangingPunct="1"/>
              <a:r>
                <a:rPr lang="es-ES" altLang="es-ES" sz="1500" b="1">
                  <a:solidFill>
                    <a:srgbClr val="212B6C"/>
                  </a:solidFill>
                  <a:latin typeface="+mn-lt"/>
                </a:rPr>
                <a:t>Otros procesos de reflexión </a:t>
              </a:r>
            </a:p>
            <a:p>
              <a:pPr algn="ctr" eaLnBrk="1" hangingPunct="1"/>
              <a:r>
                <a:rPr lang="es-ES" altLang="es-ES" sz="1500">
                  <a:solidFill>
                    <a:srgbClr val="212B6C"/>
                  </a:solidFill>
                  <a:latin typeface="+mn-lt"/>
                </a:rPr>
                <a:t>Autoevaluación EFQM 2015</a:t>
              </a:r>
            </a:p>
          </p:txBody>
        </p:sp>
        <p:pic>
          <p:nvPicPr>
            <p:cNvPr id="16" name="Imagen 15"/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203695" y="2880256"/>
              <a:ext cx="5432780" cy="1136563"/>
            </a:xfrm>
            <a:prstGeom prst="rect">
              <a:avLst/>
            </a:prstGeom>
          </p:spPr>
        </p:pic>
        <p:pic>
          <p:nvPicPr>
            <p:cNvPr id="17" name="Imagen 16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rot="16200000">
              <a:off x="3224813" y="1561888"/>
              <a:ext cx="375689" cy="383129"/>
            </a:xfrm>
            <a:prstGeom prst="rect">
              <a:avLst/>
            </a:prstGeom>
          </p:spPr>
        </p:pic>
        <p:pic>
          <p:nvPicPr>
            <p:cNvPr id="18" name="Imagen 17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rot="5400000">
              <a:off x="6519978" y="1820385"/>
              <a:ext cx="375689" cy="383129"/>
            </a:xfrm>
            <a:prstGeom prst="rect">
              <a:avLst/>
            </a:prstGeom>
          </p:spPr>
        </p:pic>
        <p:pic>
          <p:nvPicPr>
            <p:cNvPr id="19" name="Imagen 18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rot="10800000">
              <a:off x="8662319" y="3283757"/>
              <a:ext cx="375689" cy="383129"/>
            </a:xfrm>
            <a:prstGeom prst="rect">
              <a:avLst/>
            </a:prstGeom>
          </p:spPr>
        </p:pic>
        <p:pic>
          <p:nvPicPr>
            <p:cNvPr id="20" name="Imagen 19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rot="16200000">
              <a:off x="6332133" y="5021005"/>
              <a:ext cx="375689" cy="383129"/>
            </a:xfrm>
            <a:prstGeom prst="rect">
              <a:avLst/>
            </a:prstGeom>
          </p:spPr>
        </p:pic>
        <p:pic>
          <p:nvPicPr>
            <p:cNvPr id="21" name="Imagen 20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rot="5400000">
              <a:off x="2920665" y="4937307"/>
              <a:ext cx="375689" cy="383129"/>
            </a:xfrm>
            <a:prstGeom prst="rect">
              <a:avLst/>
            </a:prstGeom>
          </p:spPr>
        </p:pic>
        <p:pic>
          <p:nvPicPr>
            <p:cNvPr id="22" name="Imagen 21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rot="5400000">
              <a:off x="959769" y="3258159"/>
              <a:ext cx="375689" cy="383129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6812686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uadroTexto 8"/>
          <p:cNvSpPr txBox="1">
            <a:spLocks noChangeArrowheads="1"/>
          </p:cNvSpPr>
          <p:nvPr/>
        </p:nvSpPr>
        <p:spPr bwMode="auto">
          <a:xfrm>
            <a:off x="271849" y="237801"/>
            <a:ext cx="6697362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rgbClr val="000099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1pPr>
            <a:lvl2pPr marL="742950" indent="-285750" eaLnBrk="0" hangingPunct="0">
              <a:defRPr>
                <a:solidFill>
                  <a:srgbClr val="000099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>
                <a:solidFill>
                  <a:srgbClr val="000099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>
                <a:solidFill>
                  <a:srgbClr val="000099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>
                <a:solidFill>
                  <a:srgbClr val="000099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5pPr>
            <a:lvl6pPr marL="2514600" indent="-228600" algn="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99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6pPr>
            <a:lvl7pPr marL="2971800" indent="-228600" algn="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99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7pPr>
            <a:lvl8pPr marL="3429000" indent="-228600" algn="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99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8pPr>
            <a:lvl9pPr marL="3886200" indent="-228600" algn="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99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9pPr>
          </a:lstStyle>
          <a:p>
            <a:pPr algn="l" eaLnBrk="1" hangingPunct="1"/>
            <a:r>
              <a:rPr lang="es-ES" altLang="es-ES" b="1">
                <a:solidFill>
                  <a:srgbClr val="0FA8DC"/>
                </a:solidFill>
                <a:latin typeface="+mn-lt"/>
              </a:rPr>
              <a:t>¿Cómo construimos nuestro Mapa Estratégico 2015-2019?</a:t>
            </a:r>
            <a:endParaRPr lang="es-ES" altLang="es-ES">
              <a:solidFill>
                <a:srgbClr val="0FA8DC"/>
              </a:solidFill>
              <a:latin typeface="+mn-lt"/>
            </a:endParaRPr>
          </a:p>
        </p:txBody>
      </p:sp>
      <p:grpSp>
        <p:nvGrpSpPr>
          <p:cNvPr id="16" name="Grupo 15"/>
          <p:cNvGrpSpPr/>
          <p:nvPr/>
        </p:nvGrpSpPr>
        <p:grpSpPr>
          <a:xfrm>
            <a:off x="811342" y="1364608"/>
            <a:ext cx="8138803" cy="4182768"/>
            <a:chOff x="811342" y="1364608"/>
            <a:chExt cx="8138803" cy="4182768"/>
          </a:xfrm>
        </p:grpSpPr>
        <p:sp>
          <p:nvSpPr>
            <p:cNvPr id="3" name="Rectángulo redondeado 23"/>
            <p:cNvSpPr/>
            <p:nvPr/>
          </p:nvSpPr>
          <p:spPr>
            <a:xfrm>
              <a:off x="811342" y="2541511"/>
              <a:ext cx="2736254" cy="839702"/>
            </a:xfrm>
            <a:prstGeom prst="roundRect">
              <a:avLst/>
            </a:prstGeom>
            <a:solidFill>
              <a:srgbClr val="212B6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sz="2200"/>
            </a:p>
          </p:txBody>
        </p:sp>
        <p:sp>
          <p:nvSpPr>
            <p:cNvPr id="4" name="Rectángulo redondeado 24"/>
            <p:cNvSpPr/>
            <p:nvPr/>
          </p:nvSpPr>
          <p:spPr>
            <a:xfrm>
              <a:off x="811342" y="3588994"/>
              <a:ext cx="2736254" cy="839702"/>
            </a:xfrm>
            <a:prstGeom prst="roundRect">
              <a:avLst/>
            </a:prstGeom>
            <a:solidFill>
              <a:srgbClr val="212B6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sz="2200"/>
            </a:p>
          </p:txBody>
        </p:sp>
        <p:sp>
          <p:nvSpPr>
            <p:cNvPr id="5" name="Rectángulo 8"/>
            <p:cNvSpPr/>
            <p:nvPr/>
          </p:nvSpPr>
          <p:spPr>
            <a:xfrm>
              <a:off x="1034086" y="2541511"/>
              <a:ext cx="2279754" cy="839702"/>
            </a:xfrm>
            <a:prstGeom prst="rect">
              <a:avLst/>
            </a:prstGeom>
            <a:no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>
              <a:lvl1pPr eaLnBrk="0" hangingPunct="0"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1pPr>
              <a:lvl2pPr marL="742950" indent="-285750" eaLnBrk="0" hangingPunct="0"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2pPr>
              <a:lvl3pPr marL="1143000" indent="-228600" eaLnBrk="0" hangingPunct="0"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3pPr>
              <a:lvl4pPr marL="1600200" indent="-228600" eaLnBrk="0" hangingPunct="0"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4pPr>
              <a:lvl5pPr marL="2057400" indent="-228600" eaLnBrk="0" hangingPunct="0"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5pPr>
              <a:lvl6pPr marL="25146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6pPr>
              <a:lvl7pPr marL="29718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7pPr>
              <a:lvl8pPr marL="34290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8pPr>
              <a:lvl9pPr marL="38862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9pPr>
            </a:lstStyle>
            <a:p>
              <a:pPr algn="ctr" eaLnBrk="1" hangingPunct="1"/>
              <a:r>
                <a:rPr lang="es-ES" altLang="es-ES" sz="2200" b="1">
                  <a:solidFill>
                    <a:srgbClr val="FFFFFF"/>
                  </a:solidFill>
                  <a:latin typeface="+mn-lt"/>
                </a:rPr>
                <a:t>Conclusiones </a:t>
              </a:r>
            </a:p>
            <a:p>
              <a:pPr algn="ctr" eaLnBrk="1" hangingPunct="1"/>
              <a:r>
                <a:rPr lang="es-ES" altLang="es-ES" sz="2200" b="1">
                  <a:solidFill>
                    <a:srgbClr val="FFFFFF"/>
                  </a:solidFill>
                  <a:latin typeface="+mn-lt"/>
                </a:rPr>
                <a:t>visión interna</a:t>
              </a:r>
            </a:p>
          </p:txBody>
        </p:sp>
        <p:sp>
          <p:nvSpPr>
            <p:cNvPr id="6" name="Rectángulo 9"/>
            <p:cNvSpPr/>
            <p:nvPr/>
          </p:nvSpPr>
          <p:spPr>
            <a:xfrm>
              <a:off x="1034086" y="3588994"/>
              <a:ext cx="2279754" cy="839702"/>
            </a:xfrm>
            <a:prstGeom prst="rect">
              <a:avLst/>
            </a:prstGeom>
            <a:no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>
              <a:lvl1pPr eaLnBrk="0" hangingPunct="0"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1pPr>
              <a:lvl2pPr marL="742950" indent="-285750" eaLnBrk="0" hangingPunct="0"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2pPr>
              <a:lvl3pPr marL="1143000" indent="-228600" eaLnBrk="0" hangingPunct="0"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3pPr>
              <a:lvl4pPr marL="1600200" indent="-228600" eaLnBrk="0" hangingPunct="0"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4pPr>
              <a:lvl5pPr marL="2057400" indent="-228600" eaLnBrk="0" hangingPunct="0"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5pPr>
              <a:lvl6pPr marL="25146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6pPr>
              <a:lvl7pPr marL="29718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7pPr>
              <a:lvl8pPr marL="34290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8pPr>
              <a:lvl9pPr marL="38862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9pPr>
            </a:lstStyle>
            <a:p>
              <a:pPr algn="ctr" eaLnBrk="1" hangingPunct="1"/>
              <a:r>
                <a:rPr lang="es-ES" altLang="es-ES" sz="2200" b="1">
                  <a:solidFill>
                    <a:srgbClr val="FFFFFF"/>
                  </a:solidFill>
                  <a:latin typeface="+mn-lt"/>
                </a:rPr>
                <a:t>Conclusiones </a:t>
              </a:r>
            </a:p>
            <a:p>
              <a:pPr algn="ctr" eaLnBrk="1" hangingPunct="1"/>
              <a:r>
                <a:rPr lang="es-ES" altLang="es-ES" sz="2200" b="1">
                  <a:solidFill>
                    <a:srgbClr val="FFFFFF"/>
                  </a:solidFill>
                  <a:latin typeface="+mn-lt"/>
                </a:rPr>
                <a:t>visión externa</a:t>
              </a:r>
            </a:p>
          </p:txBody>
        </p:sp>
        <p:pic>
          <p:nvPicPr>
            <p:cNvPr id="7" name="Imagen 1"/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887578" y="1683573"/>
              <a:ext cx="2321079" cy="3690518"/>
            </a:xfrm>
            <a:prstGeom prst="rect">
              <a:avLst/>
            </a:prstGeom>
          </p:spPr>
        </p:pic>
        <p:sp>
          <p:nvSpPr>
            <p:cNvPr id="8" name="Rectángulo redondeado 2"/>
            <p:cNvSpPr/>
            <p:nvPr/>
          </p:nvSpPr>
          <p:spPr>
            <a:xfrm>
              <a:off x="5597239" y="1364608"/>
              <a:ext cx="3352906" cy="839702"/>
            </a:xfrm>
            <a:prstGeom prst="roundRect">
              <a:avLst/>
            </a:prstGeom>
            <a:solidFill>
              <a:srgbClr val="0FA8D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sz="2400"/>
            </a:p>
          </p:txBody>
        </p:sp>
        <p:sp>
          <p:nvSpPr>
            <p:cNvPr id="9" name="Rectángulo redondeado 13"/>
            <p:cNvSpPr/>
            <p:nvPr/>
          </p:nvSpPr>
          <p:spPr>
            <a:xfrm>
              <a:off x="5597239" y="2478963"/>
              <a:ext cx="3352906" cy="839702"/>
            </a:xfrm>
            <a:prstGeom prst="roundRect">
              <a:avLst/>
            </a:prstGeom>
            <a:solidFill>
              <a:srgbClr val="0FA8D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sz="2400"/>
            </a:p>
          </p:txBody>
        </p:sp>
        <p:sp>
          <p:nvSpPr>
            <p:cNvPr id="10" name="Rectángulo redondeado 14"/>
            <p:cNvSpPr/>
            <p:nvPr/>
          </p:nvSpPr>
          <p:spPr>
            <a:xfrm>
              <a:off x="5597239" y="3593318"/>
              <a:ext cx="3352906" cy="839702"/>
            </a:xfrm>
            <a:prstGeom prst="roundRect">
              <a:avLst/>
            </a:prstGeom>
            <a:solidFill>
              <a:srgbClr val="0FA8D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sz="2400"/>
            </a:p>
          </p:txBody>
        </p:sp>
        <p:sp>
          <p:nvSpPr>
            <p:cNvPr id="11" name="Rectángulo redondeado 15"/>
            <p:cNvSpPr/>
            <p:nvPr/>
          </p:nvSpPr>
          <p:spPr>
            <a:xfrm>
              <a:off x="5597239" y="4707674"/>
              <a:ext cx="3352906" cy="839702"/>
            </a:xfrm>
            <a:prstGeom prst="roundRect">
              <a:avLst/>
            </a:prstGeom>
            <a:solidFill>
              <a:srgbClr val="0FA8D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sz="2400"/>
            </a:p>
          </p:txBody>
        </p:sp>
        <p:sp>
          <p:nvSpPr>
            <p:cNvPr id="12" name="Rectángulo 17"/>
            <p:cNvSpPr/>
            <p:nvPr/>
          </p:nvSpPr>
          <p:spPr>
            <a:xfrm>
              <a:off x="5796674" y="1375106"/>
              <a:ext cx="2934814" cy="839702"/>
            </a:xfrm>
            <a:prstGeom prst="rect">
              <a:avLst/>
            </a:prstGeom>
            <a:no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>
              <a:lvl1pPr eaLnBrk="0" hangingPunct="0"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1pPr>
              <a:lvl2pPr marL="742950" indent="-285750" eaLnBrk="0" hangingPunct="0"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2pPr>
              <a:lvl3pPr marL="1143000" indent="-228600" eaLnBrk="0" hangingPunct="0"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3pPr>
              <a:lvl4pPr marL="1600200" indent="-228600" eaLnBrk="0" hangingPunct="0"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4pPr>
              <a:lvl5pPr marL="2057400" indent="-228600" eaLnBrk="0" hangingPunct="0"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5pPr>
              <a:lvl6pPr marL="25146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6pPr>
              <a:lvl7pPr marL="29718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7pPr>
              <a:lvl8pPr marL="34290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8pPr>
              <a:lvl9pPr marL="38862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9pPr>
            </a:lstStyle>
            <a:p>
              <a:pPr algn="ctr" eaLnBrk="1" hangingPunct="1"/>
              <a:r>
                <a:rPr lang="es-ES" altLang="es-ES" sz="2400" b="1">
                  <a:solidFill>
                    <a:srgbClr val="FFFFFF"/>
                  </a:solidFill>
                  <a:latin typeface="+mn-lt"/>
                </a:rPr>
                <a:t>Misión, visión y valores</a:t>
              </a:r>
            </a:p>
          </p:txBody>
        </p:sp>
        <p:sp>
          <p:nvSpPr>
            <p:cNvPr id="13" name="Rectángulo 18"/>
            <p:cNvSpPr/>
            <p:nvPr/>
          </p:nvSpPr>
          <p:spPr>
            <a:xfrm>
              <a:off x="5796674" y="2492959"/>
              <a:ext cx="2934814" cy="839702"/>
            </a:xfrm>
            <a:prstGeom prst="rect">
              <a:avLst/>
            </a:prstGeom>
            <a:no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>
              <a:lvl1pPr eaLnBrk="0" hangingPunct="0"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1pPr>
              <a:lvl2pPr marL="742950" indent="-285750" eaLnBrk="0" hangingPunct="0"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2pPr>
              <a:lvl3pPr marL="1143000" indent="-228600" eaLnBrk="0" hangingPunct="0"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3pPr>
              <a:lvl4pPr marL="1600200" indent="-228600" eaLnBrk="0" hangingPunct="0"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4pPr>
              <a:lvl5pPr marL="2057400" indent="-228600" eaLnBrk="0" hangingPunct="0"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5pPr>
              <a:lvl6pPr marL="25146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6pPr>
              <a:lvl7pPr marL="29718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7pPr>
              <a:lvl8pPr marL="34290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8pPr>
              <a:lvl9pPr marL="38862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9pPr>
            </a:lstStyle>
            <a:p>
              <a:pPr algn="ctr" eaLnBrk="1" hangingPunct="1"/>
              <a:r>
                <a:rPr lang="es-ES" altLang="es-ES" sz="2400" b="1">
                  <a:solidFill>
                    <a:srgbClr val="FFFFFF"/>
                  </a:solidFill>
                  <a:latin typeface="+mn-lt"/>
                </a:rPr>
                <a:t>Ejes estratégicos</a:t>
              </a:r>
            </a:p>
          </p:txBody>
        </p:sp>
        <p:sp>
          <p:nvSpPr>
            <p:cNvPr id="14" name="Rectángulo 19"/>
            <p:cNvSpPr/>
            <p:nvPr/>
          </p:nvSpPr>
          <p:spPr>
            <a:xfrm>
              <a:off x="5796674" y="3610813"/>
              <a:ext cx="2934814" cy="839702"/>
            </a:xfrm>
            <a:prstGeom prst="rect">
              <a:avLst/>
            </a:prstGeom>
            <a:no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>
              <a:lvl1pPr eaLnBrk="0" hangingPunct="0"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1pPr>
              <a:lvl2pPr marL="742950" indent="-285750" eaLnBrk="0" hangingPunct="0"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2pPr>
              <a:lvl3pPr marL="1143000" indent="-228600" eaLnBrk="0" hangingPunct="0"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3pPr>
              <a:lvl4pPr marL="1600200" indent="-228600" eaLnBrk="0" hangingPunct="0"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4pPr>
              <a:lvl5pPr marL="2057400" indent="-228600" eaLnBrk="0" hangingPunct="0"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5pPr>
              <a:lvl6pPr marL="25146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6pPr>
              <a:lvl7pPr marL="29718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7pPr>
              <a:lvl8pPr marL="34290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8pPr>
              <a:lvl9pPr marL="38862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9pPr>
            </a:lstStyle>
            <a:p>
              <a:pPr algn="ctr" eaLnBrk="1" hangingPunct="1"/>
              <a:r>
                <a:rPr lang="es-ES" altLang="es-ES" sz="2400" b="1">
                  <a:solidFill>
                    <a:srgbClr val="FFFFFF"/>
                  </a:solidFill>
                  <a:latin typeface="+mn-lt"/>
                </a:rPr>
                <a:t>Objetivos estratégicos</a:t>
              </a:r>
            </a:p>
          </p:txBody>
        </p:sp>
        <p:sp>
          <p:nvSpPr>
            <p:cNvPr id="15" name="Rectángulo 20"/>
            <p:cNvSpPr/>
            <p:nvPr/>
          </p:nvSpPr>
          <p:spPr>
            <a:xfrm>
              <a:off x="5796674" y="4707674"/>
              <a:ext cx="2934814" cy="839702"/>
            </a:xfrm>
            <a:prstGeom prst="rect">
              <a:avLst/>
            </a:prstGeom>
            <a:no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>
              <a:lvl1pPr eaLnBrk="0" hangingPunct="0"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1pPr>
              <a:lvl2pPr marL="742950" indent="-285750" eaLnBrk="0" hangingPunct="0"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2pPr>
              <a:lvl3pPr marL="1143000" indent="-228600" eaLnBrk="0" hangingPunct="0"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3pPr>
              <a:lvl4pPr marL="1600200" indent="-228600" eaLnBrk="0" hangingPunct="0"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4pPr>
              <a:lvl5pPr marL="2057400" indent="-228600" eaLnBrk="0" hangingPunct="0"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5pPr>
              <a:lvl6pPr marL="25146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6pPr>
              <a:lvl7pPr marL="29718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7pPr>
              <a:lvl8pPr marL="34290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8pPr>
              <a:lvl9pPr marL="38862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9pPr>
            </a:lstStyle>
            <a:p>
              <a:pPr algn="ctr" eaLnBrk="1" hangingPunct="1"/>
              <a:r>
                <a:rPr lang="es-ES" altLang="es-ES" sz="2400" b="1">
                  <a:solidFill>
                    <a:srgbClr val="FFFFFF"/>
                  </a:solidFill>
                  <a:latin typeface="+mn-lt"/>
                </a:rPr>
                <a:t>Plan de acción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1017008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 txBox="1">
            <a:spLocks/>
          </p:cNvSpPr>
          <p:nvPr/>
        </p:nvSpPr>
        <p:spPr>
          <a:xfrm>
            <a:off x="295135" y="280021"/>
            <a:ext cx="6756454" cy="271914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ES" altLang="es-ES" sz="1800" b="1">
                <a:solidFill>
                  <a:srgbClr val="0FA8DC"/>
                </a:solidFill>
                <a:latin typeface="+mn-lt"/>
              </a:rPr>
              <a:t>Visión, Misión y Valores </a:t>
            </a:r>
            <a:r>
              <a:rPr lang="es-ES" altLang="es-ES" sz="1800">
                <a:solidFill>
                  <a:srgbClr val="0FA8DC"/>
                </a:solidFill>
                <a:latin typeface="+mn-lt"/>
              </a:rPr>
              <a:t>Hospital Universitario 12 de Octubre</a:t>
            </a:r>
          </a:p>
        </p:txBody>
      </p:sp>
      <p:sp>
        <p:nvSpPr>
          <p:cNvPr id="3" name="Rectangle 3"/>
          <p:cNvSpPr txBox="1">
            <a:spLocks noChangeArrowheads="1"/>
          </p:cNvSpPr>
          <p:nvPr/>
        </p:nvSpPr>
        <p:spPr bwMode="auto">
          <a:xfrm>
            <a:off x="344561" y="1044154"/>
            <a:ext cx="9317024" cy="48066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Bef>
                <a:spcPts val="700"/>
              </a:spcBef>
              <a:buClr>
                <a:srgbClr val="B81B49"/>
              </a:buClr>
              <a:buFont typeface="Arial" charset="0"/>
              <a:buChar char="•"/>
            </a:pPr>
            <a:r>
              <a:rPr lang="es-ES" altLang="es-ES" sz="1600">
                <a:solidFill>
                  <a:srgbClr val="212B6C"/>
                </a:solidFill>
                <a:cs typeface="Calibri" panose="020F0502020204030204" pitchFamily="34" charset="0"/>
              </a:rPr>
              <a:t>Hospital con servicios altamente especializados y referentes.</a:t>
            </a:r>
          </a:p>
          <a:p>
            <a:pPr>
              <a:lnSpc>
                <a:spcPct val="100000"/>
              </a:lnSpc>
              <a:spcBef>
                <a:spcPts val="700"/>
              </a:spcBef>
              <a:buClr>
                <a:srgbClr val="B81B49"/>
              </a:buClr>
              <a:buFont typeface="Arial" charset="0"/>
              <a:buChar char="•"/>
            </a:pPr>
            <a:r>
              <a:rPr lang="es-ES" altLang="es-ES" sz="1600">
                <a:solidFill>
                  <a:srgbClr val="212B6C"/>
                </a:solidFill>
                <a:cs typeface="Calibri" panose="020F0502020204030204" pitchFamily="34" charset="0"/>
              </a:rPr>
              <a:t>Hospital con tecnología adecuada a su nivel de complejidad.</a:t>
            </a:r>
          </a:p>
          <a:p>
            <a:pPr>
              <a:lnSpc>
                <a:spcPct val="100000"/>
              </a:lnSpc>
              <a:spcBef>
                <a:spcPts val="700"/>
              </a:spcBef>
              <a:buClr>
                <a:srgbClr val="B81B49"/>
              </a:buClr>
              <a:buFont typeface="Arial" charset="0"/>
              <a:buChar char="•"/>
            </a:pPr>
            <a:r>
              <a:rPr lang="es-ES" altLang="es-ES" sz="1600">
                <a:solidFill>
                  <a:srgbClr val="212B6C"/>
                </a:solidFill>
                <a:cs typeface="Calibri" panose="020F0502020204030204" pitchFamily="34" charset="0"/>
              </a:rPr>
              <a:t>Hospital con </a:t>
            </a:r>
            <a:r>
              <a:rPr lang="es-ES" altLang="es-ES" sz="1600" b="1">
                <a:solidFill>
                  <a:srgbClr val="212B6C"/>
                </a:solidFill>
                <a:cs typeface="Calibri" panose="020F0502020204030204" pitchFamily="34" charset="0"/>
              </a:rPr>
              <a:t>equipos de trabajo </a:t>
            </a:r>
            <a:r>
              <a:rPr lang="es-ES" altLang="es-ES" sz="1600">
                <a:solidFill>
                  <a:srgbClr val="212B6C"/>
                </a:solidFill>
                <a:cs typeface="Calibri" panose="020F0502020204030204" pitchFamily="34" charset="0"/>
              </a:rPr>
              <a:t>que comparten objetivos, información y conocimiento, en un contexto multidisciplinar en el que la participación y la colaboración conviven con la asunción individual de responsabilidades.</a:t>
            </a:r>
          </a:p>
          <a:p>
            <a:pPr>
              <a:lnSpc>
                <a:spcPct val="100000"/>
              </a:lnSpc>
              <a:spcBef>
                <a:spcPts val="700"/>
              </a:spcBef>
              <a:buClr>
                <a:srgbClr val="B81B49"/>
              </a:buClr>
              <a:buFont typeface="Arial" charset="0"/>
              <a:buChar char="•"/>
            </a:pPr>
            <a:r>
              <a:rPr lang="es-ES" altLang="es-ES" sz="1600">
                <a:solidFill>
                  <a:srgbClr val="212B6C"/>
                </a:solidFill>
                <a:cs typeface="Calibri" panose="020F0502020204030204" pitchFamily="34" charset="0"/>
              </a:rPr>
              <a:t>Hospital centrado en mejorar la salud y la calidad de vida de los pacientes y sus familiares, mediante una </a:t>
            </a:r>
            <a:r>
              <a:rPr lang="es-ES" altLang="es-ES" sz="1600" b="1">
                <a:solidFill>
                  <a:srgbClr val="212B6C"/>
                </a:solidFill>
                <a:cs typeface="Calibri" panose="020F0502020204030204" pitchFamily="34" charset="0"/>
              </a:rPr>
              <a:t>atención personalizada, segura, integral y continuada</a:t>
            </a:r>
            <a:r>
              <a:rPr lang="es-ES" altLang="es-ES" sz="1600">
                <a:solidFill>
                  <a:srgbClr val="212B6C"/>
                </a:solidFill>
                <a:cs typeface="Calibri" panose="020F0502020204030204" pitchFamily="34" charset="0"/>
              </a:rPr>
              <a:t>, construida sobre la base del respeto, la amabilidad, la comunicación, la información y la cercanía.</a:t>
            </a:r>
          </a:p>
          <a:p>
            <a:pPr>
              <a:lnSpc>
                <a:spcPct val="100000"/>
              </a:lnSpc>
              <a:spcBef>
                <a:spcPts val="700"/>
              </a:spcBef>
              <a:buClr>
                <a:srgbClr val="B81B49"/>
              </a:buClr>
              <a:buFont typeface="Arial" charset="0"/>
              <a:buChar char="•"/>
            </a:pPr>
            <a:r>
              <a:rPr lang="es-ES" altLang="es-ES" sz="1600">
                <a:solidFill>
                  <a:srgbClr val="212B6C"/>
                </a:solidFill>
                <a:cs typeface="Calibri" panose="020F0502020204030204" pitchFamily="34" charset="0"/>
              </a:rPr>
              <a:t>Hospital referente para la </a:t>
            </a:r>
            <a:r>
              <a:rPr lang="es-ES" altLang="es-ES" sz="1600" b="1">
                <a:solidFill>
                  <a:srgbClr val="212B6C"/>
                </a:solidFill>
                <a:cs typeface="Calibri" panose="020F0502020204030204" pitchFamily="34" charset="0"/>
              </a:rPr>
              <a:t>formación de profesionales sanitarios</a:t>
            </a:r>
            <a:r>
              <a:rPr lang="es-ES" altLang="es-ES" sz="1600">
                <a:solidFill>
                  <a:srgbClr val="212B6C"/>
                </a:solidFill>
                <a:cs typeface="Calibri" panose="020F0502020204030204" pitchFamily="34" charset="0"/>
              </a:rPr>
              <a:t>, dotado de las técnicas pedagógicas más innovadoras.</a:t>
            </a:r>
          </a:p>
          <a:p>
            <a:pPr>
              <a:lnSpc>
                <a:spcPct val="100000"/>
              </a:lnSpc>
              <a:spcBef>
                <a:spcPts val="700"/>
              </a:spcBef>
              <a:buClr>
                <a:srgbClr val="B81B49"/>
              </a:buClr>
              <a:buFont typeface="Arial" charset="0"/>
              <a:buChar char="•"/>
            </a:pPr>
            <a:r>
              <a:rPr lang="es-ES" altLang="es-ES" sz="1600">
                <a:solidFill>
                  <a:srgbClr val="212B6C"/>
                </a:solidFill>
                <a:cs typeface="Calibri" panose="020F0502020204030204" pitchFamily="34" charset="0"/>
              </a:rPr>
              <a:t>Hospital motor de </a:t>
            </a:r>
            <a:r>
              <a:rPr lang="es-ES" altLang="es-ES" sz="1600" b="1">
                <a:solidFill>
                  <a:srgbClr val="212B6C"/>
                </a:solidFill>
                <a:cs typeface="Calibri" panose="020F0502020204030204" pitchFamily="34" charset="0"/>
              </a:rPr>
              <a:t>generación de conocimiento y de innovación</a:t>
            </a:r>
            <a:r>
              <a:rPr lang="es-ES" altLang="es-ES" sz="1600">
                <a:solidFill>
                  <a:srgbClr val="212B6C"/>
                </a:solidFill>
                <a:cs typeface="Calibri" panose="020F0502020204030204" pitchFamily="34" charset="0"/>
              </a:rPr>
              <a:t>, con una clara orientación a </a:t>
            </a:r>
            <a:r>
              <a:rPr lang="es-ES" altLang="es-ES" sz="1600" b="1">
                <a:solidFill>
                  <a:srgbClr val="212B6C"/>
                </a:solidFill>
                <a:cs typeface="Calibri" panose="020F0502020204030204" pitchFamily="34" charset="0"/>
              </a:rPr>
              <a:t>resultados en salud</a:t>
            </a:r>
            <a:r>
              <a:rPr lang="es-ES" altLang="es-ES" sz="1600">
                <a:solidFill>
                  <a:srgbClr val="212B6C"/>
                </a:solidFill>
                <a:cs typeface="Calibri" panose="020F0502020204030204" pitchFamily="34" charset="0"/>
              </a:rPr>
              <a:t>, aportando valor y retorno.</a:t>
            </a:r>
          </a:p>
          <a:p>
            <a:pPr>
              <a:lnSpc>
                <a:spcPct val="100000"/>
              </a:lnSpc>
              <a:spcBef>
                <a:spcPts val="700"/>
              </a:spcBef>
              <a:buClr>
                <a:srgbClr val="B81B49"/>
              </a:buClr>
              <a:buFont typeface="Arial" charset="0"/>
              <a:buChar char="•"/>
            </a:pPr>
            <a:r>
              <a:rPr lang="es-ES" altLang="es-ES" sz="1600">
                <a:solidFill>
                  <a:srgbClr val="212B6C"/>
                </a:solidFill>
                <a:cs typeface="Calibri" panose="020F0502020204030204" pitchFamily="34" charset="0"/>
              </a:rPr>
              <a:t>Hospital implicado con su entorno, </a:t>
            </a:r>
            <a:r>
              <a:rPr lang="es-ES" altLang="es-ES" sz="1600" b="1">
                <a:solidFill>
                  <a:srgbClr val="212B6C"/>
                </a:solidFill>
                <a:cs typeface="Calibri" panose="020F0502020204030204" pitchFamily="34" charset="0"/>
              </a:rPr>
              <a:t>comprometido con la sociedad </a:t>
            </a:r>
            <a:r>
              <a:rPr lang="es-ES" altLang="es-ES" sz="1600">
                <a:solidFill>
                  <a:srgbClr val="212B6C"/>
                </a:solidFill>
                <a:cs typeface="Calibri" panose="020F0502020204030204" pitchFamily="34" charset="0"/>
              </a:rPr>
              <a:t>y con la sostenibilidad del sistema sanitario.</a:t>
            </a:r>
          </a:p>
          <a:p>
            <a:pPr>
              <a:lnSpc>
                <a:spcPct val="100000"/>
              </a:lnSpc>
              <a:spcBef>
                <a:spcPts val="700"/>
              </a:spcBef>
              <a:buClr>
                <a:srgbClr val="B81B49"/>
              </a:buClr>
              <a:buFont typeface="Arial" charset="0"/>
              <a:buChar char="•"/>
            </a:pPr>
            <a:r>
              <a:rPr lang="es-ES" altLang="es-ES" sz="1600">
                <a:solidFill>
                  <a:srgbClr val="212B6C"/>
                </a:solidFill>
                <a:cs typeface="Calibri" panose="020F0502020204030204" pitchFamily="34" charset="0"/>
              </a:rPr>
              <a:t>Hospital ágil, resolutivo, abierto e innovador, que interpreta los cambios como una oportunidad para </a:t>
            </a:r>
            <a:r>
              <a:rPr lang="es-ES" altLang="es-ES" sz="1600" b="1">
                <a:solidFill>
                  <a:srgbClr val="0070C0"/>
                </a:solidFill>
                <a:cs typeface="Calibri" panose="020F0502020204030204" pitchFamily="34" charset="0"/>
              </a:rPr>
              <a:t>mejorar, avanzar y crecer</a:t>
            </a:r>
            <a:r>
              <a:rPr lang="es-ES" altLang="es-ES" sz="1600">
                <a:solidFill>
                  <a:srgbClr val="212B6C"/>
                </a:solidFill>
                <a:cs typeface="Calibri" panose="020F0502020204030204" pitchFamily="34" charset="0"/>
              </a:rPr>
              <a:t>. </a:t>
            </a:r>
          </a:p>
          <a:p>
            <a:pPr>
              <a:lnSpc>
                <a:spcPct val="100000"/>
              </a:lnSpc>
              <a:spcBef>
                <a:spcPts val="700"/>
              </a:spcBef>
              <a:buClr>
                <a:srgbClr val="B81B49"/>
              </a:buClr>
              <a:buFont typeface="Arial" charset="0"/>
              <a:buChar char="•"/>
            </a:pPr>
            <a:r>
              <a:rPr lang="es-ES" altLang="es-ES" sz="1600" b="1">
                <a:solidFill>
                  <a:srgbClr val="0FA8DC"/>
                </a:solidFill>
                <a:cs typeface="Calibri" panose="020F0502020204030204" pitchFamily="34" charset="0"/>
              </a:rPr>
              <a:t>Hospital con imagen de marca líder en el sector, reconocible y de confianza.</a:t>
            </a:r>
            <a:endParaRPr lang="es-ES" altLang="es-ES" sz="1600">
              <a:solidFill>
                <a:srgbClr val="0FA8DC"/>
              </a:solidFill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597119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uadroTexto 8"/>
          <p:cNvSpPr txBox="1">
            <a:spLocks noChangeArrowheads="1"/>
          </p:cNvSpPr>
          <p:nvPr/>
        </p:nvSpPr>
        <p:spPr bwMode="auto">
          <a:xfrm>
            <a:off x="271849" y="237801"/>
            <a:ext cx="6697362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rgbClr val="000099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1pPr>
            <a:lvl2pPr marL="742950" indent="-285750" eaLnBrk="0" hangingPunct="0">
              <a:defRPr>
                <a:solidFill>
                  <a:srgbClr val="000099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>
                <a:solidFill>
                  <a:srgbClr val="000099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>
                <a:solidFill>
                  <a:srgbClr val="000099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>
                <a:solidFill>
                  <a:srgbClr val="000099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5pPr>
            <a:lvl6pPr marL="2514600" indent="-228600" algn="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99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6pPr>
            <a:lvl7pPr marL="2971800" indent="-228600" algn="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99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7pPr>
            <a:lvl8pPr marL="3429000" indent="-228600" algn="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99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8pPr>
            <a:lvl9pPr marL="3886200" indent="-228600" algn="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99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9pPr>
          </a:lstStyle>
          <a:p>
            <a:pPr eaLnBrk="1" hangingPunct="1"/>
            <a:r>
              <a:rPr lang="es-ES" altLang="es-ES" b="1">
                <a:solidFill>
                  <a:srgbClr val="0FA8DC"/>
                </a:solidFill>
                <a:latin typeface="Arial" panose="020B0604020202020204"/>
              </a:rPr>
              <a:t>¿Cómo construimos nuestro Mapa Estratégico 2015-2019?</a:t>
            </a:r>
            <a:endParaRPr lang="es-ES" altLang="es-ES">
              <a:solidFill>
                <a:srgbClr val="0FA8DC"/>
              </a:solidFill>
              <a:latin typeface="Arial" panose="020B0604020202020204"/>
            </a:endParaRPr>
          </a:p>
        </p:txBody>
      </p:sp>
      <p:sp>
        <p:nvSpPr>
          <p:cNvPr id="3" name="CuadroTexto 2"/>
          <p:cNvSpPr txBox="1"/>
          <p:nvPr/>
        </p:nvSpPr>
        <p:spPr>
          <a:xfrm>
            <a:off x="480411" y="3214404"/>
            <a:ext cx="6002039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4000" b="1">
                <a:solidFill>
                  <a:srgbClr val="212B6C"/>
                </a:solidFill>
              </a:rPr>
              <a:t>Ejes</a:t>
            </a:r>
          </a:p>
          <a:p>
            <a:r>
              <a:rPr lang="es-ES_tradnl" sz="4000" b="1">
                <a:solidFill>
                  <a:srgbClr val="212B6C"/>
                </a:solidFill>
              </a:rPr>
              <a:t>Objetivos</a:t>
            </a:r>
          </a:p>
          <a:p>
            <a:r>
              <a:rPr lang="es-ES" sz="4000" b="1">
                <a:solidFill>
                  <a:srgbClr val="212B6C"/>
                </a:solidFill>
              </a:rPr>
              <a:t>Plan de Acción</a:t>
            </a:r>
            <a:endParaRPr lang="es-ES_tradnl" sz="4000" b="1">
              <a:solidFill>
                <a:srgbClr val="212B6C"/>
              </a:solidFill>
            </a:endParaRPr>
          </a:p>
        </p:txBody>
      </p:sp>
      <p:sp>
        <p:nvSpPr>
          <p:cNvPr id="4" name="CuadroTexto 3"/>
          <p:cNvSpPr txBox="1"/>
          <p:nvPr/>
        </p:nvSpPr>
        <p:spPr>
          <a:xfrm>
            <a:off x="319375" y="1226971"/>
            <a:ext cx="8051893" cy="14465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_tradnl" sz="4400" b="1" err="1">
                <a:solidFill>
                  <a:srgbClr val="0FA8DC"/>
                </a:solidFill>
              </a:rPr>
              <a:t>Construcci</a:t>
            </a:r>
            <a:r>
              <a:rPr lang="es-ES" sz="4400" b="1" err="1">
                <a:solidFill>
                  <a:srgbClr val="0FA8DC"/>
                </a:solidFill>
              </a:rPr>
              <a:t>ón</a:t>
            </a:r>
            <a:r>
              <a:rPr lang="es-ES" sz="4400" b="1">
                <a:solidFill>
                  <a:srgbClr val="0FA8DC"/>
                </a:solidFill>
              </a:rPr>
              <a:t> de nuestro</a:t>
            </a:r>
            <a:r>
              <a:rPr lang="es-ES_tradnl" sz="4400" b="1">
                <a:solidFill>
                  <a:srgbClr val="0FA8DC"/>
                </a:solidFill>
              </a:rPr>
              <a:t> Mapa </a:t>
            </a:r>
            <a:r>
              <a:rPr lang="es-ES_tradnl" sz="4400" b="1" err="1">
                <a:solidFill>
                  <a:srgbClr val="0FA8DC"/>
                </a:solidFill>
              </a:rPr>
              <a:t>Estrat</a:t>
            </a:r>
            <a:r>
              <a:rPr lang="es-ES" sz="4400" b="1" err="1">
                <a:solidFill>
                  <a:srgbClr val="0FA8DC"/>
                </a:solidFill>
              </a:rPr>
              <a:t>égico</a:t>
            </a:r>
            <a:r>
              <a:rPr lang="es-ES" sz="4400" b="1">
                <a:solidFill>
                  <a:srgbClr val="0FA8DC"/>
                </a:solidFill>
              </a:rPr>
              <a:t> 7+2</a:t>
            </a:r>
            <a:endParaRPr lang="es-ES_tradnl" sz="4400" b="1">
              <a:solidFill>
                <a:srgbClr val="0FA8DC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50196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 txBox="1">
            <a:spLocks/>
          </p:cNvSpPr>
          <p:nvPr/>
        </p:nvSpPr>
        <p:spPr>
          <a:xfrm>
            <a:off x="295135" y="280021"/>
            <a:ext cx="6756454" cy="271914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ES" altLang="es-ES" sz="2400">
                <a:solidFill>
                  <a:srgbClr val="0FA8DC"/>
                </a:solidFill>
                <a:latin typeface="+mn-lt"/>
              </a:rPr>
              <a:t>Construcción de nuestro </a:t>
            </a:r>
            <a:r>
              <a:rPr lang="es-ES" altLang="es-ES" sz="2400" b="1">
                <a:solidFill>
                  <a:srgbClr val="0FA8DC"/>
                </a:solidFill>
                <a:latin typeface="+mn-lt"/>
              </a:rPr>
              <a:t>Mapa Estratégico</a:t>
            </a:r>
          </a:p>
          <a:p>
            <a:endParaRPr lang="es-ES" altLang="es-ES" sz="2400">
              <a:solidFill>
                <a:srgbClr val="5AA2AE"/>
              </a:solidFill>
              <a:latin typeface="+mn-lt"/>
            </a:endParaRPr>
          </a:p>
        </p:txBody>
      </p:sp>
      <p:grpSp>
        <p:nvGrpSpPr>
          <p:cNvPr id="18" name="Grupo 17"/>
          <p:cNvGrpSpPr/>
          <p:nvPr/>
        </p:nvGrpSpPr>
        <p:grpSpPr>
          <a:xfrm>
            <a:off x="345268" y="1013198"/>
            <a:ext cx="9233072" cy="4723049"/>
            <a:chOff x="345268" y="1013198"/>
            <a:chExt cx="9233072" cy="4723049"/>
          </a:xfrm>
        </p:grpSpPr>
        <p:sp>
          <p:nvSpPr>
            <p:cNvPr id="3" name="Rectángulo redondeado 2"/>
            <p:cNvSpPr/>
            <p:nvPr/>
          </p:nvSpPr>
          <p:spPr>
            <a:xfrm>
              <a:off x="6097689" y="4886047"/>
              <a:ext cx="3352906" cy="839702"/>
            </a:xfrm>
            <a:prstGeom prst="roundRect">
              <a:avLst/>
            </a:prstGeom>
            <a:solidFill>
              <a:schemeClr val="bg1"/>
            </a:solidFill>
            <a:ln w="28575">
              <a:solidFill>
                <a:srgbClr val="212B6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sz="2000">
                <a:solidFill>
                  <a:srgbClr val="212B6C"/>
                </a:solidFill>
              </a:endParaRPr>
            </a:p>
          </p:txBody>
        </p:sp>
        <p:sp>
          <p:nvSpPr>
            <p:cNvPr id="4" name="Rectángulo 3"/>
            <p:cNvSpPr/>
            <p:nvPr/>
          </p:nvSpPr>
          <p:spPr>
            <a:xfrm>
              <a:off x="6297124" y="4896545"/>
              <a:ext cx="2934814" cy="839702"/>
            </a:xfrm>
            <a:prstGeom prst="rect">
              <a:avLst/>
            </a:prstGeom>
            <a:no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>
              <a:lvl1pPr eaLnBrk="0" hangingPunct="0"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1pPr>
              <a:lvl2pPr marL="742950" indent="-285750" eaLnBrk="0" hangingPunct="0"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2pPr>
              <a:lvl3pPr marL="1143000" indent="-228600" eaLnBrk="0" hangingPunct="0"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3pPr>
              <a:lvl4pPr marL="1600200" indent="-228600" eaLnBrk="0" hangingPunct="0"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4pPr>
              <a:lvl5pPr marL="2057400" indent="-228600" eaLnBrk="0" hangingPunct="0"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5pPr>
              <a:lvl6pPr marL="25146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6pPr>
              <a:lvl7pPr marL="29718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7pPr>
              <a:lvl8pPr marL="34290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8pPr>
              <a:lvl9pPr marL="38862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9pPr>
            </a:lstStyle>
            <a:p>
              <a:pPr algn="ctr" eaLnBrk="1" hangingPunct="1">
                <a:spcAft>
                  <a:spcPts val="600"/>
                </a:spcAft>
              </a:pPr>
              <a:r>
                <a:rPr lang="es-ES" altLang="es-ES" sz="2000" b="1">
                  <a:solidFill>
                    <a:srgbClr val="212B6C"/>
                  </a:solidFill>
                  <a:latin typeface="+mn-lt"/>
                </a:rPr>
                <a:t>La “ruta” hacia los objetivos estratégicos</a:t>
              </a:r>
              <a:endParaRPr lang="es-ES" altLang="es-ES" sz="2000">
                <a:solidFill>
                  <a:srgbClr val="212B6C"/>
                </a:solidFill>
                <a:latin typeface="+mn-lt"/>
              </a:endParaRPr>
            </a:p>
          </p:txBody>
        </p:sp>
        <p:sp>
          <p:nvSpPr>
            <p:cNvPr id="5" name="Rectángulo redondeado 4"/>
            <p:cNvSpPr/>
            <p:nvPr/>
          </p:nvSpPr>
          <p:spPr>
            <a:xfrm>
              <a:off x="4770737" y="3370285"/>
              <a:ext cx="3562380" cy="910395"/>
            </a:xfrm>
            <a:prstGeom prst="roundRect">
              <a:avLst/>
            </a:prstGeom>
            <a:solidFill>
              <a:schemeClr val="bg1"/>
            </a:solidFill>
            <a:ln w="28575">
              <a:solidFill>
                <a:srgbClr val="212B6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sz="2000"/>
            </a:p>
          </p:txBody>
        </p:sp>
        <p:sp>
          <p:nvSpPr>
            <p:cNvPr id="6" name="Rectángulo 5"/>
            <p:cNvSpPr/>
            <p:nvPr/>
          </p:nvSpPr>
          <p:spPr>
            <a:xfrm>
              <a:off x="5078617" y="3388115"/>
              <a:ext cx="3136994" cy="839702"/>
            </a:xfrm>
            <a:prstGeom prst="rect">
              <a:avLst/>
            </a:prstGeom>
            <a:no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>
              <a:lvl1pPr eaLnBrk="0" hangingPunct="0"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1pPr>
              <a:lvl2pPr marL="742950" indent="-285750" eaLnBrk="0" hangingPunct="0"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2pPr>
              <a:lvl3pPr marL="1143000" indent="-228600" eaLnBrk="0" hangingPunct="0"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3pPr>
              <a:lvl4pPr marL="1600200" indent="-228600" eaLnBrk="0" hangingPunct="0"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4pPr>
              <a:lvl5pPr marL="2057400" indent="-228600" eaLnBrk="0" hangingPunct="0"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5pPr>
              <a:lvl6pPr marL="25146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6pPr>
              <a:lvl7pPr marL="29718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7pPr>
              <a:lvl8pPr marL="34290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8pPr>
              <a:lvl9pPr marL="38862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9pPr>
            </a:lstStyle>
            <a:p>
              <a:pPr algn="ctr" eaLnBrk="1" hangingPunct="1">
                <a:spcAft>
                  <a:spcPts val="600"/>
                </a:spcAft>
              </a:pPr>
              <a:r>
                <a:rPr lang="es-ES" altLang="es-ES" sz="2000" b="1">
                  <a:solidFill>
                    <a:srgbClr val="212B6C"/>
                  </a:solidFill>
                  <a:latin typeface="+mn-lt"/>
                </a:rPr>
                <a:t>Los elementos de orientación de la estrategia</a:t>
              </a:r>
            </a:p>
          </p:txBody>
        </p:sp>
        <p:sp>
          <p:nvSpPr>
            <p:cNvPr id="7" name="Rectángulo redondeado 6"/>
            <p:cNvSpPr/>
            <p:nvPr/>
          </p:nvSpPr>
          <p:spPr>
            <a:xfrm>
              <a:off x="3657388" y="1753032"/>
              <a:ext cx="3743620" cy="839702"/>
            </a:xfrm>
            <a:prstGeom prst="roundRect">
              <a:avLst/>
            </a:prstGeom>
            <a:solidFill>
              <a:schemeClr val="bg1"/>
            </a:solidFill>
            <a:ln w="28575">
              <a:solidFill>
                <a:srgbClr val="212B6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sz="2000"/>
            </a:p>
          </p:txBody>
        </p:sp>
        <p:sp>
          <p:nvSpPr>
            <p:cNvPr id="8" name="Rectángulo 7"/>
            <p:cNvSpPr/>
            <p:nvPr/>
          </p:nvSpPr>
          <p:spPr>
            <a:xfrm>
              <a:off x="3863032" y="1763530"/>
              <a:ext cx="3332332" cy="839702"/>
            </a:xfrm>
            <a:prstGeom prst="rect">
              <a:avLst/>
            </a:prstGeom>
            <a:no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>
              <a:lvl1pPr eaLnBrk="0" hangingPunct="0"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1pPr>
              <a:lvl2pPr marL="742950" indent="-285750" eaLnBrk="0" hangingPunct="0"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2pPr>
              <a:lvl3pPr marL="1143000" indent="-228600" eaLnBrk="0" hangingPunct="0"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3pPr>
              <a:lvl4pPr marL="1600200" indent="-228600" eaLnBrk="0" hangingPunct="0"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4pPr>
              <a:lvl5pPr marL="2057400" indent="-228600" eaLnBrk="0" hangingPunct="0"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5pPr>
              <a:lvl6pPr marL="25146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6pPr>
              <a:lvl7pPr marL="29718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7pPr>
              <a:lvl8pPr marL="34290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8pPr>
              <a:lvl9pPr marL="38862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9pPr>
            </a:lstStyle>
            <a:p>
              <a:pPr algn="ctr" eaLnBrk="1" hangingPunct="1">
                <a:spcAft>
                  <a:spcPts val="300"/>
                </a:spcAft>
              </a:pPr>
              <a:r>
                <a:rPr lang="es-ES" altLang="es-ES" sz="2000" b="1">
                  <a:solidFill>
                    <a:srgbClr val="212B6C"/>
                  </a:solidFill>
                  <a:latin typeface="+mn-lt"/>
                </a:rPr>
                <a:t>Los “Pilares” de la Visión</a:t>
              </a:r>
            </a:p>
          </p:txBody>
        </p:sp>
        <p:sp>
          <p:nvSpPr>
            <p:cNvPr id="9" name="Rectángulo redondeado 8"/>
            <p:cNvSpPr/>
            <p:nvPr/>
          </p:nvSpPr>
          <p:spPr>
            <a:xfrm>
              <a:off x="411275" y="1754846"/>
              <a:ext cx="3352906" cy="839702"/>
            </a:xfrm>
            <a:prstGeom prst="roundRect">
              <a:avLst/>
            </a:prstGeom>
            <a:solidFill>
              <a:srgbClr val="0070C0"/>
            </a:solidFill>
            <a:ln w="28575">
              <a:solidFill>
                <a:srgbClr val="212B6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sz="2000"/>
            </a:p>
          </p:txBody>
        </p:sp>
        <p:sp>
          <p:nvSpPr>
            <p:cNvPr id="10" name="Rectángulo 9"/>
            <p:cNvSpPr/>
            <p:nvPr/>
          </p:nvSpPr>
          <p:spPr>
            <a:xfrm>
              <a:off x="610710" y="1765344"/>
              <a:ext cx="2934814" cy="839702"/>
            </a:xfrm>
            <a:prstGeom prst="rect">
              <a:avLst/>
            </a:prstGeom>
            <a:no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>
              <a:lvl1pPr eaLnBrk="0" hangingPunct="0"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1pPr>
              <a:lvl2pPr marL="742950" indent="-285750" eaLnBrk="0" hangingPunct="0"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2pPr>
              <a:lvl3pPr marL="1143000" indent="-228600" eaLnBrk="0" hangingPunct="0"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3pPr>
              <a:lvl4pPr marL="1600200" indent="-228600" eaLnBrk="0" hangingPunct="0"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4pPr>
              <a:lvl5pPr marL="2057400" indent="-228600" eaLnBrk="0" hangingPunct="0"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5pPr>
              <a:lvl6pPr marL="25146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6pPr>
              <a:lvl7pPr marL="29718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7pPr>
              <a:lvl8pPr marL="34290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8pPr>
              <a:lvl9pPr marL="38862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9pPr>
            </a:lstStyle>
            <a:p>
              <a:pPr algn="ctr" eaLnBrk="1" hangingPunct="1"/>
              <a:r>
                <a:rPr lang="es-ES" altLang="es-ES" sz="2000" b="1">
                  <a:solidFill>
                    <a:schemeClr val="bg1"/>
                  </a:solidFill>
                  <a:latin typeface="+mn-lt"/>
                </a:rPr>
                <a:t>Objetivos Estratégicos</a:t>
              </a:r>
            </a:p>
          </p:txBody>
        </p:sp>
        <p:sp>
          <p:nvSpPr>
            <p:cNvPr id="11" name="Rectángulo redondeado 10"/>
            <p:cNvSpPr/>
            <p:nvPr/>
          </p:nvSpPr>
          <p:spPr>
            <a:xfrm>
              <a:off x="1655766" y="3377617"/>
              <a:ext cx="3352906" cy="839702"/>
            </a:xfrm>
            <a:prstGeom prst="roundRect">
              <a:avLst/>
            </a:prstGeom>
            <a:solidFill>
              <a:srgbClr val="0070C0"/>
            </a:solidFill>
            <a:ln w="28575">
              <a:solidFill>
                <a:srgbClr val="0070C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sz="2000"/>
            </a:p>
          </p:txBody>
        </p:sp>
        <p:sp>
          <p:nvSpPr>
            <p:cNvPr id="12" name="Rectángulo 11"/>
            <p:cNvSpPr/>
            <p:nvPr/>
          </p:nvSpPr>
          <p:spPr>
            <a:xfrm>
              <a:off x="1855201" y="3388115"/>
              <a:ext cx="2934814" cy="892566"/>
            </a:xfrm>
            <a:prstGeom prst="rect">
              <a:avLst/>
            </a:prstGeom>
            <a:no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>
              <a:lvl1pPr eaLnBrk="0" hangingPunct="0"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1pPr>
              <a:lvl2pPr marL="742950" indent="-285750" eaLnBrk="0" hangingPunct="0"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2pPr>
              <a:lvl3pPr marL="1143000" indent="-228600" eaLnBrk="0" hangingPunct="0"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3pPr>
              <a:lvl4pPr marL="1600200" indent="-228600" eaLnBrk="0" hangingPunct="0"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4pPr>
              <a:lvl5pPr marL="2057400" indent="-228600" eaLnBrk="0" hangingPunct="0"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5pPr>
              <a:lvl6pPr marL="25146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6pPr>
              <a:lvl7pPr marL="29718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7pPr>
              <a:lvl8pPr marL="34290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8pPr>
              <a:lvl9pPr marL="38862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9pPr>
            </a:lstStyle>
            <a:p>
              <a:pPr algn="ctr" eaLnBrk="1" hangingPunct="1"/>
              <a:r>
                <a:rPr lang="es-ES" altLang="es-ES" sz="2000" b="1">
                  <a:solidFill>
                    <a:schemeClr val="bg1"/>
                  </a:solidFill>
                  <a:latin typeface="+mn-lt"/>
                </a:rPr>
                <a:t> Ejes Estratégicos</a:t>
              </a:r>
            </a:p>
          </p:txBody>
        </p:sp>
        <p:sp>
          <p:nvSpPr>
            <p:cNvPr id="13" name="Rectángulo redondeado 12"/>
            <p:cNvSpPr/>
            <p:nvPr/>
          </p:nvSpPr>
          <p:spPr>
            <a:xfrm>
              <a:off x="2980162" y="4880116"/>
              <a:ext cx="3352906" cy="839702"/>
            </a:xfrm>
            <a:prstGeom prst="roundRect">
              <a:avLst/>
            </a:prstGeom>
            <a:solidFill>
              <a:srgbClr val="0070C0"/>
            </a:solidFill>
            <a:ln w="28575">
              <a:solidFill>
                <a:srgbClr val="212B6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sz="2000"/>
            </a:p>
          </p:txBody>
        </p:sp>
        <p:sp>
          <p:nvSpPr>
            <p:cNvPr id="14" name="Rectángulo 13"/>
            <p:cNvSpPr/>
            <p:nvPr/>
          </p:nvSpPr>
          <p:spPr>
            <a:xfrm>
              <a:off x="3179597" y="4890614"/>
              <a:ext cx="2934814" cy="839702"/>
            </a:xfrm>
            <a:prstGeom prst="rect">
              <a:avLst/>
            </a:prstGeom>
            <a:no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>
              <a:lvl1pPr eaLnBrk="0" hangingPunct="0"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1pPr>
              <a:lvl2pPr marL="742950" indent="-285750" eaLnBrk="0" hangingPunct="0"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2pPr>
              <a:lvl3pPr marL="1143000" indent="-228600" eaLnBrk="0" hangingPunct="0"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3pPr>
              <a:lvl4pPr marL="1600200" indent="-228600" eaLnBrk="0" hangingPunct="0"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4pPr>
              <a:lvl5pPr marL="2057400" indent="-228600" eaLnBrk="0" hangingPunct="0"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5pPr>
              <a:lvl6pPr marL="25146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6pPr>
              <a:lvl7pPr marL="29718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7pPr>
              <a:lvl8pPr marL="34290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8pPr>
              <a:lvl9pPr marL="38862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9pPr>
            </a:lstStyle>
            <a:p>
              <a:pPr algn="ctr" eaLnBrk="1" hangingPunct="1"/>
              <a:r>
                <a:rPr lang="es-ES" altLang="es-ES" sz="2000" b="1">
                  <a:solidFill>
                    <a:schemeClr val="bg1"/>
                  </a:solidFill>
                  <a:latin typeface="+mn-lt"/>
                </a:rPr>
                <a:t>Planes de actuación</a:t>
              </a:r>
            </a:p>
          </p:txBody>
        </p:sp>
        <p:sp>
          <p:nvSpPr>
            <p:cNvPr id="15" name="Rectángulo 14"/>
            <p:cNvSpPr/>
            <p:nvPr/>
          </p:nvSpPr>
          <p:spPr>
            <a:xfrm>
              <a:off x="345268" y="1013198"/>
              <a:ext cx="9233072" cy="52322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s-ES" altLang="es-ES" sz="2800" b="1">
                  <a:solidFill>
                    <a:srgbClr val="212B6C"/>
                  </a:solidFill>
                </a:rPr>
                <a:t>Visión 2020</a:t>
              </a:r>
            </a:p>
          </p:txBody>
        </p:sp>
        <p:pic>
          <p:nvPicPr>
            <p:cNvPr id="16" name="Imagen 15"/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rot="12489888" flipH="1">
              <a:off x="7314567" y="2420284"/>
              <a:ext cx="1213791" cy="659744"/>
            </a:xfrm>
            <a:prstGeom prst="rect">
              <a:avLst/>
            </a:prstGeom>
          </p:spPr>
        </p:pic>
        <p:pic>
          <p:nvPicPr>
            <p:cNvPr id="17" name="Imagen 16"/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rot="12489888" flipH="1">
              <a:off x="8207485" y="3950809"/>
              <a:ext cx="1213791" cy="659744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2603431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 txBox="1">
            <a:spLocks/>
          </p:cNvSpPr>
          <p:nvPr/>
        </p:nvSpPr>
        <p:spPr>
          <a:xfrm>
            <a:off x="295135" y="280021"/>
            <a:ext cx="6756454" cy="271914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ES" altLang="es-ES" sz="2400" b="1">
                <a:solidFill>
                  <a:srgbClr val="0FA8DC"/>
                </a:solidFill>
                <a:latin typeface="+mn-lt"/>
              </a:rPr>
              <a:t>Mapa estratégico </a:t>
            </a:r>
            <a:r>
              <a:rPr lang="es-ES" altLang="es-ES" sz="2400">
                <a:solidFill>
                  <a:srgbClr val="0FA8DC"/>
                </a:solidFill>
                <a:latin typeface="+mn-lt"/>
              </a:rPr>
              <a:t>H12O 2015-2019</a:t>
            </a:r>
          </a:p>
        </p:txBody>
      </p:sp>
      <p:grpSp>
        <p:nvGrpSpPr>
          <p:cNvPr id="44" name="Grupo 43"/>
          <p:cNvGrpSpPr/>
          <p:nvPr/>
        </p:nvGrpSpPr>
        <p:grpSpPr>
          <a:xfrm>
            <a:off x="480678" y="984807"/>
            <a:ext cx="8811603" cy="5026826"/>
            <a:chOff x="480678" y="984807"/>
            <a:chExt cx="8811603" cy="5026826"/>
          </a:xfrm>
        </p:grpSpPr>
        <p:sp>
          <p:nvSpPr>
            <p:cNvPr id="3" name="CuadroTexto 76"/>
            <p:cNvSpPr txBox="1">
              <a:spLocks noChangeArrowheads="1"/>
            </p:cNvSpPr>
            <p:nvPr/>
          </p:nvSpPr>
          <p:spPr bwMode="auto">
            <a:xfrm>
              <a:off x="3117001" y="984807"/>
              <a:ext cx="3527425" cy="43251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>
              <a:lvl1pPr algn="r">
                <a:defRPr sz="2800"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1pPr>
              <a:lvl2pPr marL="742950" indent="-285750" algn="r">
                <a:defRPr sz="2800"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2pPr>
              <a:lvl3pPr marL="1143000" indent="-228600" algn="r">
                <a:defRPr sz="2800"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3pPr>
              <a:lvl4pPr marL="1600200" indent="-228600" algn="r">
                <a:defRPr sz="2800"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4pPr>
              <a:lvl5pPr marL="2057400" indent="-228600" algn="r">
                <a:defRPr sz="2800"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5pPr>
              <a:lvl6pPr marL="25146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6pPr>
              <a:lvl7pPr marL="29718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7pPr>
              <a:lvl8pPr marL="34290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8pPr>
              <a:lvl9pPr marL="38862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9pPr>
            </a:lstStyle>
            <a:p>
              <a:pPr algn="ctr"/>
              <a:r>
                <a:rPr lang="es-ES" altLang="es-ES" sz="2400" b="1">
                  <a:solidFill>
                    <a:srgbClr val="212B6C"/>
                  </a:solidFill>
                  <a:latin typeface="+mn-lt"/>
                </a:rPr>
                <a:t>Ejes Estratégicos 7+2</a:t>
              </a:r>
              <a:endParaRPr lang="es-ES" altLang="es-ES" sz="2400">
                <a:solidFill>
                  <a:srgbClr val="212B6C"/>
                </a:solidFill>
                <a:latin typeface="+mn-lt"/>
              </a:endParaRPr>
            </a:p>
          </p:txBody>
        </p:sp>
        <p:sp>
          <p:nvSpPr>
            <p:cNvPr id="4" name="CuadroTexto 3"/>
            <p:cNvSpPr txBox="1"/>
            <p:nvPr/>
          </p:nvSpPr>
          <p:spPr>
            <a:xfrm>
              <a:off x="1254127" y="4738401"/>
              <a:ext cx="8029916" cy="323165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</p:spPr>
          <p:txBody>
            <a:bodyPr wrap="square">
              <a:spAutoFit/>
            </a:bodyPr>
            <a:lstStyle>
              <a:lvl1pPr eaLnBrk="0" hangingPunct="0"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1pPr>
              <a:lvl2pPr marL="742950" indent="-285750" eaLnBrk="0" hangingPunct="0"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2pPr>
              <a:lvl3pPr marL="1143000" indent="-228600" eaLnBrk="0" hangingPunct="0"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3pPr>
              <a:lvl4pPr marL="1600200" indent="-228600" eaLnBrk="0" hangingPunct="0"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4pPr>
              <a:lvl5pPr marL="2057400" indent="-228600" eaLnBrk="0" hangingPunct="0"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5pPr>
              <a:lvl6pPr marL="25146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6pPr>
              <a:lvl7pPr marL="29718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7pPr>
              <a:lvl8pPr marL="34290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8pPr>
              <a:lvl9pPr marL="38862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9pPr>
            </a:lstStyle>
            <a:p>
              <a:pPr eaLnBrk="1" hangingPunct="1">
                <a:defRPr/>
              </a:pPr>
              <a:r>
                <a:rPr lang="es-ES" altLang="es-ES" sz="1500">
                  <a:solidFill>
                    <a:srgbClr val="212B6C"/>
                  </a:solidFill>
                  <a:latin typeface="+mn-lt"/>
                </a:rPr>
                <a:t>      Alianza y Colaboraciones</a:t>
              </a:r>
            </a:p>
          </p:txBody>
        </p:sp>
        <p:pic>
          <p:nvPicPr>
            <p:cNvPr id="5" name="Imagen 4"/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97127" y="4507992"/>
              <a:ext cx="906808" cy="789621"/>
            </a:xfrm>
            <a:prstGeom prst="rect">
              <a:avLst/>
            </a:prstGeom>
          </p:spPr>
        </p:pic>
        <p:sp>
          <p:nvSpPr>
            <p:cNvPr id="6" name="Rectángulo 5"/>
            <p:cNvSpPr/>
            <p:nvPr/>
          </p:nvSpPr>
          <p:spPr>
            <a:xfrm>
              <a:off x="480678" y="4743138"/>
              <a:ext cx="832021" cy="30777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s-ES" altLang="es-ES" sz="1400" b="1">
                  <a:solidFill>
                    <a:srgbClr val="0FA8DC"/>
                  </a:solidFill>
                </a:rPr>
                <a:t>EJE 8</a:t>
              </a:r>
            </a:p>
          </p:txBody>
        </p:sp>
        <p:sp>
          <p:nvSpPr>
            <p:cNvPr id="7" name="CuadroTexto 6"/>
            <p:cNvSpPr txBox="1"/>
            <p:nvPr/>
          </p:nvSpPr>
          <p:spPr>
            <a:xfrm>
              <a:off x="2014152" y="5377781"/>
              <a:ext cx="7278129" cy="323165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</p:spPr>
          <p:txBody>
            <a:bodyPr wrap="square">
              <a:spAutoFit/>
            </a:bodyPr>
            <a:lstStyle>
              <a:lvl1pPr eaLnBrk="0" hangingPunct="0"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1pPr>
              <a:lvl2pPr marL="742950" indent="-285750" eaLnBrk="0" hangingPunct="0"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2pPr>
              <a:lvl3pPr marL="1143000" indent="-228600" eaLnBrk="0" hangingPunct="0"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3pPr>
              <a:lvl4pPr marL="1600200" indent="-228600" eaLnBrk="0" hangingPunct="0"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4pPr>
              <a:lvl5pPr marL="2057400" indent="-228600" eaLnBrk="0" hangingPunct="0"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5pPr>
              <a:lvl6pPr marL="25146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6pPr>
              <a:lvl7pPr marL="29718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7pPr>
              <a:lvl8pPr marL="34290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8pPr>
              <a:lvl9pPr marL="38862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9pPr>
            </a:lstStyle>
            <a:p>
              <a:pPr eaLnBrk="1" hangingPunct="1">
                <a:defRPr/>
              </a:pPr>
              <a:r>
                <a:rPr lang="es-ES" altLang="es-ES" sz="1500">
                  <a:solidFill>
                    <a:srgbClr val="212B6C"/>
                  </a:solidFill>
                  <a:latin typeface="+mn-lt"/>
                </a:rPr>
                <a:t>       Tecnologías de la información y comunicación (TIC)</a:t>
              </a:r>
            </a:p>
          </p:txBody>
        </p:sp>
        <p:pic>
          <p:nvPicPr>
            <p:cNvPr id="8" name="Imagen 7"/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rot="5400000">
              <a:off x="880482" y="1519250"/>
              <a:ext cx="728676" cy="634509"/>
            </a:xfrm>
            <a:prstGeom prst="rect">
              <a:avLst/>
            </a:prstGeom>
          </p:spPr>
        </p:pic>
        <p:sp>
          <p:nvSpPr>
            <p:cNvPr id="9" name="Rectángulo 8"/>
            <p:cNvSpPr>
              <a:spLocks noChangeArrowheads="1"/>
            </p:cNvSpPr>
            <p:nvPr/>
          </p:nvSpPr>
          <p:spPr bwMode="auto">
            <a:xfrm>
              <a:off x="935488" y="1636922"/>
              <a:ext cx="634313" cy="313038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anchor="ctr"/>
            <a:lstStyle>
              <a:lvl1pPr eaLnBrk="0" hangingPunct="0"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1pPr>
              <a:lvl2pPr marL="742950" indent="-285750" eaLnBrk="0" hangingPunct="0"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2pPr>
              <a:lvl3pPr marL="1143000" indent="-228600" eaLnBrk="0" hangingPunct="0"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3pPr>
              <a:lvl4pPr marL="1600200" indent="-228600" eaLnBrk="0" hangingPunct="0"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4pPr>
              <a:lvl5pPr marL="2057400" indent="-228600" eaLnBrk="0" hangingPunct="0"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5pPr>
              <a:lvl6pPr marL="25146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6pPr>
              <a:lvl7pPr marL="29718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7pPr>
              <a:lvl8pPr marL="34290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8pPr>
              <a:lvl9pPr marL="38862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9pPr>
            </a:lstStyle>
            <a:p>
              <a:pPr algn="ctr" eaLnBrk="1" hangingPunct="1"/>
              <a:r>
                <a:rPr lang="es-ES" altLang="es-ES" sz="1200">
                  <a:solidFill>
                    <a:srgbClr val="0FA8DC"/>
                  </a:solidFill>
                  <a:latin typeface="+mn-lt"/>
                </a:rPr>
                <a:t>EJE 1</a:t>
              </a:r>
            </a:p>
          </p:txBody>
        </p:sp>
        <p:pic>
          <p:nvPicPr>
            <p:cNvPr id="10" name="Imagen 9"/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rot="5400000">
              <a:off x="1971996" y="1531607"/>
              <a:ext cx="728676" cy="634509"/>
            </a:xfrm>
            <a:prstGeom prst="rect">
              <a:avLst/>
            </a:prstGeom>
          </p:spPr>
        </p:pic>
        <p:sp>
          <p:nvSpPr>
            <p:cNvPr id="11" name="Rectángulo 10"/>
            <p:cNvSpPr>
              <a:spLocks noChangeArrowheads="1"/>
            </p:cNvSpPr>
            <p:nvPr/>
          </p:nvSpPr>
          <p:spPr bwMode="auto">
            <a:xfrm>
              <a:off x="2027002" y="1649279"/>
              <a:ext cx="634313" cy="313038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anchor="ctr"/>
            <a:lstStyle>
              <a:lvl1pPr eaLnBrk="0" hangingPunct="0"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1pPr>
              <a:lvl2pPr marL="742950" indent="-285750" eaLnBrk="0" hangingPunct="0"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2pPr>
              <a:lvl3pPr marL="1143000" indent="-228600" eaLnBrk="0" hangingPunct="0"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3pPr>
              <a:lvl4pPr marL="1600200" indent="-228600" eaLnBrk="0" hangingPunct="0"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4pPr>
              <a:lvl5pPr marL="2057400" indent="-228600" eaLnBrk="0" hangingPunct="0"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5pPr>
              <a:lvl6pPr marL="25146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6pPr>
              <a:lvl7pPr marL="29718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7pPr>
              <a:lvl8pPr marL="34290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8pPr>
              <a:lvl9pPr marL="38862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9pPr>
            </a:lstStyle>
            <a:p>
              <a:pPr algn="ctr" eaLnBrk="1" hangingPunct="1"/>
              <a:r>
                <a:rPr lang="es-ES" altLang="es-ES" sz="1200">
                  <a:solidFill>
                    <a:srgbClr val="0FA8DC"/>
                  </a:solidFill>
                  <a:latin typeface="+mn-lt"/>
                </a:rPr>
                <a:t>EJE 2</a:t>
              </a:r>
            </a:p>
          </p:txBody>
        </p:sp>
        <p:pic>
          <p:nvPicPr>
            <p:cNvPr id="12" name="Imagen 11"/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rot="5400000">
              <a:off x="3067628" y="1531608"/>
              <a:ext cx="728676" cy="634509"/>
            </a:xfrm>
            <a:prstGeom prst="rect">
              <a:avLst/>
            </a:prstGeom>
          </p:spPr>
        </p:pic>
        <p:sp>
          <p:nvSpPr>
            <p:cNvPr id="13" name="Rectángulo 12"/>
            <p:cNvSpPr>
              <a:spLocks noChangeArrowheads="1"/>
            </p:cNvSpPr>
            <p:nvPr/>
          </p:nvSpPr>
          <p:spPr bwMode="auto">
            <a:xfrm>
              <a:off x="3122634" y="1649280"/>
              <a:ext cx="634313" cy="313038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anchor="ctr"/>
            <a:lstStyle>
              <a:lvl1pPr eaLnBrk="0" hangingPunct="0"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1pPr>
              <a:lvl2pPr marL="742950" indent="-285750" eaLnBrk="0" hangingPunct="0"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2pPr>
              <a:lvl3pPr marL="1143000" indent="-228600" eaLnBrk="0" hangingPunct="0"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3pPr>
              <a:lvl4pPr marL="1600200" indent="-228600" eaLnBrk="0" hangingPunct="0"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4pPr>
              <a:lvl5pPr marL="2057400" indent="-228600" eaLnBrk="0" hangingPunct="0"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5pPr>
              <a:lvl6pPr marL="25146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6pPr>
              <a:lvl7pPr marL="29718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7pPr>
              <a:lvl8pPr marL="34290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8pPr>
              <a:lvl9pPr marL="38862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9pPr>
            </a:lstStyle>
            <a:p>
              <a:pPr algn="ctr" eaLnBrk="1" hangingPunct="1"/>
              <a:r>
                <a:rPr lang="es-ES" altLang="es-ES" sz="1200">
                  <a:solidFill>
                    <a:srgbClr val="0FA8DC"/>
                  </a:solidFill>
                  <a:latin typeface="+mn-lt"/>
                </a:rPr>
                <a:t>EJE 3</a:t>
              </a:r>
            </a:p>
          </p:txBody>
        </p:sp>
        <p:pic>
          <p:nvPicPr>
            <p:cNvPr id="14" name="Imagen 13"/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rot="5400000">
              <a:off x="4175618" y="1535728"/>
              <a:ext cx="728676" cy="634509"/>
            </a:xfrm>
            <a:prstGeom prst="rect">
              <a:avLst/>
            </a:prstGeom>
          </p:spPr>
        </p:pic>
        <p:sp>
          <p:nvSpPr>
            <p:cNvPr id="15" name="Rectángulo 14"/>
            <p:cNvSpPr>
              <a:spLocks noChangeArrowheads="1"/>
            </p:cNvSpPr>
            <p:nvPr/>
          </p:nvSpPr>
          <p:spPr bwMode="auto">
            <a:xfrm>
              <a:off x="4230624" y="1653400"/>
              <a:ext cx="634313" cy="313038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anchor="ctr"/>
            <a:lstStyle>
              <a:lvl1pPr eaLnBrk="0" hangingPunct="0"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1pPr>
              <a:lvl2pPr marL="742950" indent="-285750" eaLnBrk="0" hangingPunct="0"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2pPr>
              <a:lvl3pPr marL="1143000" indent="-228600" eaLnBrk="0" hangingPunct="0"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3pPr>
              <a:lvl4pPr marL="1600200" indent="-228600" eaLnBrk="0" hangingPunct="0"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4pPr>
              <a:lvl5pPr marL="2057400" indent="-228600" eaLnBrk="0" hangingPunct="0"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5pPr>
              <a:lvl6pPr marL="25146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6pPr>
              <a:lvl7pPr marL="29718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7pPr>
              <a:lvl8pPr marL="34290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8pPr>
              <a:lvl9pPr marL="38862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9pPr>
            </a:lstStyle>
            <a:p>
              <a:pPr algn="ctr" eaLnBrk="1" hangingPunct="1"/>
              <a:r>
                <a:rPr lang="es-ES" altLang="es-ES" sz="1200">
                  <a:solidFill>
                    <a:srgbClr val="0FA8DC"/>
                  </a:solidFill>
                  <a:latin typeface="+mn-lt"/>
                </a:rPr>
                <a:t>EJE 4</a:t>
              </a:r>
            </a:p>
          </p:txBody>
        </p:sp>
        <p:pic>
          <p:nvPicPr>
            <p:cNvPr id="16" name="Imagen 15"/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rot="5400000">
              <a:off x="5291847" y="1548083"/>
              <a:ext cx="728676" cy="634509"/>
            </a:xfrm>
            <a:prstGeom prst="rect">
              <a:avLst/>
            </a:prstGeom>
          </p:spPr>
        </p:pic>
        <p:sp>
          <p:nvSpPr>
            <p:cNvPr id="17" name="Rectángulo 16"/>
            <p:cNvSpPr>
              <a:spLocks noChangeArrowheads="1"/>
            </p:cNvSpPr>
            <p:nvPr/>
          </p:nvSpPr>
          <p:spPr bwMode="auto">
            <a:xfrm>
              <a:off x="5346853" y="1665755"/>
              <a:ext cx="634313" cy="313038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anchor="ctr"/>
            <a:lstStyle>
              <a:lvl1pPr eaLnBrk="0" hangingPunct="0"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1pPr>
              <a:lvl2pPr marL="742950" indent="-285750" eaLnBrk="0" hangingPunct="0"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2pPr>
              <a:lvl3pPr marL="1143000" indent="-228600" eaLnBrk="0" hangingPunct="0"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3pPr>
              <a:lvl4pPr marL="1600200" indent="-228600" eaLnBrk="0" hangingPunct="0"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4pPr>
              <a:lvl5pPr marL="2057400" indent="-228600" eaLnBrk="0" hangingPunct="0"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5pPr>
              <a:lvl6pPr marL="25146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6pPr>
              <a:lvl7pPr marL="29718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7pPr>
              <a:lvl8pPr marL="34290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8pPr>
              <a:lvl9pPr marL="38862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9pPr>
            </a:lstStyle>
            <a:p>
              <a:pPr algn="ctr" eaLnBrk="1" hangingPunct="1"/>
              <a:r>
                <a:rPr lang="es-ES" altLang="es-ES" sz="1200">
                  <a:solidFill>
                    <a:srgbClr val="0FA8DC"/>
                  </a:solidFill>
                  <a:latin typeface="+mn-lt"/>
                </a:rPr>
                <a:t>EJE 5</a:t>
              </a:r>
            </a:p>
          </p:txBody>
        </p:sp>
        <p:pic>
          <p:nvPicPr>
            <p:cNvPr id="18" name="Imagen 17"/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rot="5400000">
              <a:off x="6449263" y="1560442"/>
              <a:ext cx="728676" cy="634509"/>
            </a:xfrm>
            <a:prstGeom prst="rect">
              <a:avLst/>
            </a:prstGeom>
          </p:spPr>
        </p:pic>
        <p:sp>
          <p:nvSpPr>
            <p:cNvPr id="19" name="Rectángulo 18"/>
            <p:cNvSpPr>
              <a:spLocks noChangeArrowheads="1"/>
            </p:cNvSpPr>
            <p:nvPr/>
          </p:nvSpPr>
          <p:spPr bwMode="auto">
            <a:xfrm>
              <a:off x="6504269" y="1678114"/>
              <a:ext cx="634313" cy="313038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anchor="ctr"/>
            <a:lstStyle>
              <a:lvl1pPr eaLnBrk="0" hangingPunct="0"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1pPr>
              <a:lvl2pPr marL="742950" indent="-285750" eaLnBrk="0" hangingPunct="0"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2pPr>
              <a:lvl3pPr marL="1143000" indent="-228600" eaLnBrk="0" hangingPunct="0"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3pPr>
              <a:lvl4pPr marL="1600200" indent="-228600" eaLnBrk="0" hangingPunct="0"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4pPr>
              <a:lvl5pPr marL="2057400" indent="-228600" eaLnBrk="0" hangingPunct="0"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5pPr>
              <a:lvl6pPr marL="25146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6pPr>
              <a:lvl7pPr marL="29718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7pPr>
              <a:lvl8pPr marL="34290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8pPr>
              <a:lvl9pPr marL="38862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9pPr>
            </a:lstStyle>
            <a:p>
              <a:pPr algn="ctr" eaLnBrk="1" hangingPunct="1"/>
              <a:r>
                <a:rPr lang="es-ES" altLang="es-ES" sz="1200">
                  <a:solidFill>
                    <a:srgbClr val="0FA8DC"/>
                  </a:solidFill>
                  <a:latin typeface="+mn-lt"/>
                </a:rPr>
                <a:t>EJE 6</a:t>
              </a:r>
            </a:p>
          </p:txBody>
        </p:sp>
        <p:pic>
          <p:nvPicPr>
            <p:cNvPr id="20" name="Imagen 19"/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rot="5400000">
              <a:off x="7660226" y="1543965"/>
              <a:ext cx="728676" cy="634509"/>
            </a:xfrm>
            <a:prstGeom prst="rect">
              <a:avLst/>
            </a:prstGeom>
          </p:spPr>
        </p:pic>
        <p:sp>
          <p:nvSpPr>
            <p:cNvPr id="21" name="Rectángulo 20"/>
            <p:cNvSpPr>
              <a:spLocks noChangeArrowheads="1"/>
            </p:cNvSpPr>
            <p:nvPr/>
          </p:nvSpPr>
          <p:spPr bwMode="auto">
            <a:xfrm>
              <a:off x="7715232" y="1661637"/>
              <a:ext cx="634313" cy="313038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anchor="ctr"/>
            <a:lstStyle>
              <a:lvl1pPr eaLnBrk="0" hangingPunct="0"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1pPr>
              <a:lvl2pPr marL="742950" indent="-285750" eaLnBrk="0" hangingPunct="0"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2pPr>
              <a:lvl3pPr marL="1143000" indent="-228600" eaLnBrk="0" hangingPunct="0"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3pPr>
              <a:lvl4pPr marL="1600200" indent="-228600" eaLnBrk="0" hangingPunct="0"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4pPr>
              <a:lvl5pPr marL="2057400" indent="-228600" eaLnBrk="0" hangingPunct="0"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5pPr>
              <a:lvl6pPr marL="25146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6pPr>
              <a:lvl7pPr marL="29718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7pPr>
              <a:lvl8pPr marL="34290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8pPr>
              <a:lvl9pPr marL="38862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9pPr>
            </a:lstStyle>
            <a:p>
              <a:pPr algn="ctr" eaLnBrk="1" hangingPunct="1"/>
              <a:r>
                <a:rPr lang="es-ES" altLang="es-ES" sz="1200">
                  <a:solidFill>
                    <a:srgbClr val="0FA8DC"/>
                  </a:solidFill>
                  <a:latin typeface="+mn-lt"/>
                </a:rPr>
                <a:t>EJE 7</a:t>
              </a:r>
            </a:p>
          </p:txBody>
        </p:sp>
        <p:sp>
          <p:nvSpPr>
            <p:cNvPr id="22" name="Elipse 21"/>
            <p:cNvSpPr/>
            <p:nvPr/>
          </p:nvSpPr>
          <p:spPr>
            <a:xfrm>
              <a:off x="7464418" y="4369981"/>
              <a:ext cx="1641652" cy="1641652"/>
            </a:xfrm>
            <a:prstGeom prst="ellipse">
              <a:avLst/>
            </a:prstGeom>
            <a:solidFill>
              <a:srgbClr val="B81B49"/>
            </a:solidFill>
            <a:ln w="28575">
              <a:solidFill>
                <a:srgbClr val="B81B4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/>
            </a:p>
          </p:txBody>
        </p:sp>
        <p:sp>
          <p:nvSpPr>
            <p:cNvPr id="23" name="CuadroTexto 75"/>
            <p:cNvSpPr txBox="1">
              <a:spLocks noChangeArrowheads="1"/>
            </p:cNvSpPr>
            <p:nvPr/>
          </p:nvSpPr>
          <p:spPr bwMode="auto">
            <a:xfrm>
              <a:off x="7447834" y="4579607"/>
              <a:ext cx="1714136" cy="1073145"/>
            </a:xfrm>
            <a:prstGeom prst="rect">
              <a:avLst/>
            </a:prstGeom>
            <a:noFill/>
            <a:ln>
              <a:noFill/>
            </a:ln>
          </p:spPr>
          <p:txBody>
            <a:bodyPr anchor="ctr"/>
            <a:lstStyle>
              <a:lvl1pPr algn="r">
                <a:defRPr sz="2800"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1pPr>
              <a:lvl2pPr marL="742950" indent="-285750" algn="r">
                <a:defRPr sz="2800"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2pPr>
              <a:lvl3pPr marL="1143000" indent="-228600" algn="r">
                <a:defRPr sz="2800"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3pPr>
              <a:lvl4pPr marL="1600200" indent="-228600" algn="r">
                <a:defRPr sz="2800"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4pPr>
              <a:lvl5pPr marL="2057400" indent="-228600" algn="r">
                <a:defRPr sz="2800"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5pPr>
              <a:lvl6pPr marL="25146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6pPr>
              <a:lvl7pPr marL="29718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7pPr>
              <a:lvl8pPr marL="34290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8pPr>
              <a:lvl9pPr marL="38862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9pPr>
            </a:lstStyle>
            <a:p>
              <a:pPr algn="ctr"/>
              <a:r>
                <a:rPr lang="es-ES" altLang="es-ES" sz="1500" b="1">
                  <a:solidFill>
                    <a:schemeClr val="bg1"/>
                  </a:solidFill>
                  <a:latin typeface="+mn-lt"/>
                </a:rPr>
                <a:t>Ejes</a:t>
              </a:r>
            </a:p>
            <a:p>
              <a:pPr algn="ctr"/>
              <a:r>
                <a:rPr lang="es-ES" altLang="es-ES" sz="1500" b="1">
                  <a:solidFill>
                    <a:schemeClr val="bg1"/>
                  </a:solidFill>
                  <a:latin typeface="+mn-lt"/>
                </a:rPr>
                <a:t>Transversales</a:t>
              </a:r>
            </a:p>
            <a:p>
              <a:pPr algn="ctr"/>
              <a:r>
                <a:rPr lang="es-ES" altLang="es-ES" sz="1500">
                  <a:solidFill>
                    <a:schemeClr val="bg1"/>
                  </a:solidFill>
                  <a:latin typeface="+mn-lt"/>
                </a:rPr>
                <a:t>Soporte </a:t>
              </a:r>
            </a:p>
            <a:p>
              <a:pPr algn="ctr"/>
              <a:r>
                <a:rPr lang="es-ES" altLang="es-ES" sz="1500">
                  <a:solidFill>
                    <a:schemeClr val="bg1"/>
                  </a:solidFill>
                  <a:latin typeface="+mn-lt"/>
                </a:rPr>
                <a:t>a la estrategia</a:t>
              </a:r>
            </a:p>
          </p:txBody>
        </p:sp>
        <p:sp>
          <p:nvSpPr>
            <p:cNvPr id="24" name="Rectángulo redondeado 23"/>
            <p:cNvSpPr/>
            <p:nvPr/>
          </p:nvSpPr>
          <p:spPr>
            <a:xfrm>
              <a:off x="576943" y="2315966"/>
              <a:ext cx="8512628" cy="425131"/>
            </a:xfrm>
            <a:prstGeom prst="roundRect">
              <a:avLst/>
            </a:prstGeom>
            <a:solidFill>
              <a:srgbClr val="212B6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/>
            </a:p>
          </p:txBody>
        </p:sp>
        <p:sp>
          <p:nvSpPr>
            <p:cNvPr id="25" name="Rectángulo 24"/>
            <p:cNvSpPr/>
            <p:nvPr/>
          </p:nvSpPr>
          <p:spPr>
            <a:xfrm>
              <a:off x="1975104" y="2377915"/>
              <a:ext cx="5475220" cy="346813"/>
            </a:xfrm>
            <a:prstGeom prst="rect">
              <a:avLst/>
            </a:prstGeom>
            <a:no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>
              <a:lvl1pPr eaLnBrk="0" hangingPunct="0"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1pPr>
              <a:lvl2pPr marL="742950" indent="-285750" eaLnBrk="0" hangingPunct="0"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2pPr>
              <a:lvl3pPr marL="1143000" indent="-228600" eaLnBrk="0" hangingPunct="0"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3pPr>
              <a:lvl4pPr marL="1600200" indent="-228600" eaLnBrk="0" hangingPunct="0"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4pPr>
              <a:lvl5pPr marL="2057400" indent="-228600" eaLnBrk="0" hangingPunct="0"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5pPr>
              <a:lvl6pPr marL="25146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6pPr>
              <a:lvl7pPr marL="29718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7pPr>
              <a:lvl8pPr marL="34290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8pPr>
              <a:lvl9pPr marL="38862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9pPr>
            </a:lstStyle>
            <a:p>
              <a:pPr algn="ctr" eaLnBrk="1" hangingPunct="1"/>
              <a:r>
                <a:rPr lang="es-ES" altLang="es-ES" sz="1600">
                  <a:solidFill>
                    <a:schemeClr val="bg1"/>
                  </a:solidFill>
                  <a:latin typeface="+mn-lt"/>
                </a:rPr>
                <a:t>Personas</a:t>
              </a:r>
            </a:p>
          </p:txBody>
        </p:sp>
        <p:sp>
          <p:nvSpPr>
            <p:cNvPr id="26" name="Rectángulo redondeado 25"/>
            <p:cNvSpPr/>
            <p:nvPr/>
          </p:nvSpPr>
          <p:spPr>
            <a:xfrm>
              <a:off x="566057" y="2799331"/>
              <a:ext cx="8545286" cy="425131"/>
            </a:xfrm>
            <a:prstGeom prst="roundRect">
              <a:avLst/>
            </a:prstGeom>
            <a:solidFill>
              <a:schemeClr val="accent6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/>
            </a:p>
          </p:txBody>
        </p:sp>
        <p:sp>
          <p:nvSpPr>
            <p:cNvPr id="27" name="Rectángulo 26"/>
            <p:cNvSpPr/>
            <p:nvPr/>
          </p:nvSpPr>
          <p:spPr>
            <a:xfrm>
              <a:off x="1981200" y="2805400"/>
              <a:ext cx="5475220" cy="346813"/>
            </a:xfrm>
            <a:prstGeom prst="rect">
              <a:avLst/>
            </a:prstGeom>
            <a:no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>
              <a:lvl1pPr eaLnBrk="0" hangingPunct="0"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1pPr>
              <a:lvl2pPr marL="742950" indent="-285750" eaLnBrk="0" hangingPunct="0"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2pPr>
              <a:lvl3pPr marL="1143000" indent="-228600" eaLnBrk="0" hangingPunct="0"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3pPr>
              <a:lvl4pPr marL="1600200" indent="-228600" eaLnBrk="0" hangingPunct="0"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4pPr>
              <a:lvl5pPr marL="2057400" indent="-228600" eaLnBrk="0" hangingPunct="0"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5pPr>
              <a:lvl6pPr marL="25146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6pPr>
              <a:lvl7pPr marL="29718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7pPr>
              <a:lvl8pPr marL="34290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8pPr>
              <a:lvl9pPr marL="38862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9pPr>
            </a:lstStyle>
            <a:p>
              <a:pPr algn="ctr" eaLnBrk="1" hangingPunct="1"/>
              <a:r>
                <a:rPr lang="es-ES" altLang="es-ES" sz="1600">
                  <a:solidFill>
                    <a:srgbClr val="212B6C"/>
                  </a:solidFill>
                  <a:latin typeface="+mn-lt"/>
                </a:rPr>
                <a:t>Procesos Pacientes</a:t>
              </a:r>
            </a:p>
          </p:txBody>
        </p:sp>
        <p:pic>
          <p:nvPicPr>
            <p:cNvPr id="28" name="Imagen 27"/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271319" y="5126736"/>
              <a:ext cx="906808" cy="789621"/>
            </a:xfrm>
            <a:prstGeom prst="rect">
              <a:avLst/>
            </a:prstGeom>
          </p:spPr>
        </p:pic>
        <p:sp>
          <p:nvSpPr>
            <p:cNvPr id="29" name="Rectángulo 28"/>
            <p:cNvSpPr/>
            <p:nvPr/>
          </p:nvSpPr>
          <p:spPr>
            <a:xfrm>
              <a:off x="1254870" y="5361882"/>
              <a:ext cx="832021" cy="30777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s-ES" altLang="es-ES" sz="1400" b="1">
                  <a:solidFill>
                    <a:srgbClr val="0FA8DC"/>
                  </a:solidFill>
                </a:rPr>
                <a:t>EJE 9</a:t>
              </a:r>
            </a:p>
          </p:txBody>
        </p:sp>
        <p:sp>
          <p:nvSpPr>
            <p:cNvPr id="30" name="Rectángulo redondeado 29"/>
            <p:cNvSpPr/>
            <p:nvPr/>
          </p:nvSpPr>
          <p:spPr>
            <a:xfrm>
              <a:off x="608982" y="3357194"/>
              <a:ext cx="1856850" cy="801624"/>
            </a:xfrm>
            <a:prstGeom prst="roundRect">
              <a:avLst/>
            </a:prstGeom>
            <a:solidFill>
              <a:schemeClr val="bg1"/>
            </a:solidFill>
            <a:ln w="28575">
              <a:solidFill>
                <a:srgbClr val="212B6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/>
            </a:p>
          </p:txBody>
        </p:sp>
        <p:sp>
          <p:nvSpPr>
            <p:cNvPr id="31" name="Rectángulo 30"/>
            <p:cNvSpPr/>
            <p:nvPr/>
          </p:nvSpPr>
          <p:spPr>
            <a:xfrm>
              <a:off x="612648" y="3471756"/>
              <a:ext cx="1124712" cy="580382"/>
            </a:xfrm>
            <a:prstGeom prst="rect">
              <a:avLst/>
            </a:prstGeom>
            <a:no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>
              <a:lvl1pPr eaLnBrk="0" hangingPunct="0"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1pPr>
              <a:lvl2pPr marL="742950" indent="-285750" eaLnBrk="0" hangingPunct="0"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2pPr>
              <a:lvl3pPr marL="1143000" indent="-228600" eaLnBrk="0" hangingPunct="0"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3pPr>
              <a:lvl4pPr marL="1600200" indent="-228600" eaLnBrk="0" hangingPunct="0"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4pPr>
              <a:lvl5pPr marL="2057400" indent="-228600" eaLnBrk="0" hangingPunct="0"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5pPr>
              <a:lvl6pPr marL="25146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6pPr>
              <a:lvl7pPr marL="29718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7pPr>
              <a:lvl8pPr marL="34290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8pPr>
              <a:lvl9pPr marL="38862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9pPr>
            </a:lstStyle>
            <a:p>
              <a:pPr algn="ctr" eaLnBrk="1" hangingPunct="1">
                <a:spcAft>
                  <a:spcPts val="300"/>
                </a:spcAft>
              </a:pPr>
              <a:r>
                <a:rPr lang="es-ES" altLang="es-ES" sz="1200">
                  <a:solidFill>
                    <a:srgbClr val="212B6C"/>
                  </a:solidFill>
                  <a:latin typeface="+mn-lt"/>
                </a:rPr>
                <a:t>Paciente</a:t>
              </a:r>
            </a:p>
          </p:txBody>
        </p:sp>
        <p:sp>
          <p:nvSpPr>
            <p:cNvPr id="32" name="Rectángulo redondeado 31"/>
            <p:cNvSpPr/>
            <p:nvPr/>
          </p:nvSpPr>
          <p:spPr>
            <a:xfrm>
              <a:off x="1739790" y="3357626"/>
              <a:ext cx="1856850" cy="807288"/>
            </a:xfrm>
            <a:prstGeom prst="roundRect">
              <a:avLst/>
            </a:prstGeom>
            <a:solidFill>
              <a:schemeClr val="bg1"/>
            </a:solidFill>
            <a:ln w="28575">
              <a:solidFill>
                <a:srgbClr val="212B6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/>
            </a:p>
          </p:txBody>
        </p:sp>
        <p:sp>
          <p:nvSpPr>
            <p:cNvPr id="33" name="Rectángulo 32"/>
            <p:cNvSpPr/>
            <p:nvPr/>
          </p:nvSpPr>
          <p:spPr>
            <a:xfrm>
              <a:off x="1746504" y="3468708"/>
              <a:ext cx="1106424" cy="580382"/>
            </a:xfrm>
            <a:prstGeom prst="rect">
              <a:avLst/>
            </a:prstGeom>
            <a:no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>
              <a:lvl1pPr eaLnBrk="0" hangingPunct="0"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1pPr>
              <a:lvl2pPr marL="742950" indent="-285750" eaLnBrk="0" hangingPunct="0"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2pPr>
              <a:lvl3pPr marL="1143000" indent="-228600" eaLnBrk="0" hangingPunct="0"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3pPr>
              <a:lvl4pPr marL="1600200" indent="-228600" eaLnBrk="0" hangingPunct="0"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4pPr>
              <a:lvl5pPr marL="2057400" indent="-228600" eaLnBrk="0" hangingPunct="0"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5pPr>
              <a:lvl6pPr marL="25146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6pPr>
              <a:lvl7pPr marL="29718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7pPr>
              <a:lvl8pPr marL="34290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8pPr>
              <a:lvl9pPr marL="38862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9pPr>
            </a:lstStyle>
            <a:p>
              <a:pPr algn="ctr" eaLnBrk="1" hangingPunct="1">
                <a:spcAft>
                  <a:spcPts val="300"/>
                </a:spcAft>
              </a:pPr>
              <a:r>
                <a:rPr lang="es-ES" altLang="es-ES" sz="1200">
                  <a:solidFill>
                    <a:srgbClr val="212B6C"/>
                  </a:solidFill>
                  <a:latin typeface="+mn-lt"/>
                </a:rPr>
                <a:t>Organización Asistencial</a:t>
              </a:r>
            </a:p>
          </p:txBody>
        </p:sp>
        <p:sp>
          <p:nvSpPr>
            <p:cNvPr id="34" name="Rectángulo redondeado 33"/>
            <p:cNvSpPr/>
            <p:nvPr/>
          </p:nvSpPr>
          <p:spPr>
            <a:xfrm>
              <a:off x="2855358" y="3357626"/>
              <a:ext cx="1856850" cy="807288"/>
            </a:xfrm>
            <a:prstGeom prst="roundRect">
              <a:avLst/>
            </a:prstGeom>
            <a:solidFill>
              <a:schemeClr val="bg1"/>
            </a:solidFill>
            <a:ln w="28575">
              <a:solidFill>
                <a:srgbClr val="212B6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/>
            </a:p>
          </p:txBody>
        </p:sp>
        <p:sp>
          <p:nvSpPr>
            <p:cNvPr id="35" name="Rectángulo 34"/>
            <p:cNvSpPr/>
            <p:nvPr/>
          </p:nvSpPr>
          <p:spPr>
            <a:xfrm>
              <a:off x="2852928" y="3468708"/>
              <a:ext cx="1133856" cy="580382"/>
            </a:xfrm>
            <a:prstGeom prst="rect">
              <a:avLst/>
            </a:prstGeom>
            <a:no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>
              <a:lvl1pPr eaLnBrk="0" hangingPunct="0"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1pPr>
              <a:lvl2pPr marL="742950" indent="-285750" eaLnBrk="0" hangingPunct="0"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2pPr>
              <a:lvl3pPr marL="1143000" indent="-228600" eaLnBrk="0" hangingPunct="0"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3pPr>
              <a:lvl4pPr marL="1600200" indent="-228600" eaLnBrk="0" hangingPunct="0"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4pPr>
              <a:lvl5pPr marL="2057400" indent="-228600" eaLnBrk="0" hangingPunct="0"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5pPr>
              <a:lvl6pPr marL="25146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6pPr>
              <a:lvl7pPr marL="29718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7pPr>
              <a:lvl8pPr marL="34290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8pPr>
              <a:lvl9pPr marL="38862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9pPr>
            </a:lstStyle>
            <a:p>
              <a:pPr algn="ctr" eaLnBrk="1" hangingPunct="1">
                <a:spcAft>
                  <a:spcPts val="300"/>
                </a:spcAft>
              </a:pPr>
              <a:r>
                <a:rPr lang="es-ES" altLang="es-ES" sz="1200">
                  <a:solidFill>
                    <a:srgbClr val="212B6C"/>
                  </a:solidFill>
                  <a:latin typeface="+mn-lt"/>
                </a:rPr>
                <a:t>Referencias</a:t>
              </a:r>
            </a:p>
          </p:txBody>
        </p:sp>
        <p:sp>
          <p:nvSpPr>
            <p:cNvPr id="36" name="Rectángulo redondeado 35"/>
            <p:cNvSpPr/>
            <p:nvPr/>
          </p:nvSpPr>
          <p:spPr>
            <a:xfrm>
              <a:off x="3986166" y="3354578"/>
              <a:ext cx="1856850" cy="810402"/>
            </a:xfrm>
            <a:prstGeom prst="roundRect">
              <a:avLst/>
            </a:prstGeom>
            <a:solidFill>
              <a:schemeClr val="bg1"/>
            </a:solidFill>
            <a:ln w="28575">
              <a:solidFill>
                <a:srgbClr val="212B6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/>
            </a:p>
          </p:txBody>
        </p:sp>
        <p:sp>
          <p:nvSpPr>
            <p:cNvPr id="37" name="Rectángulo 36"/>
            <p:cNvSpPr/>
            <p:nvPr/>
          </p:nvSpPr>
          <p:spPr>
            <a:xfrm>
              <a:off x="3977640" y="3465660"/>
              <a:ext cx="1133856" cy="580382"/>
            </a:xfrm>
            <a:prstGeom prst="rect">
              <a:avLst/>
            </a:prstGeom>
            <a:no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>
              <a:lvl1pPr eaLnBrk="0" hangingPunct="0"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1pPr>
              <a:lvl2pPr marL="742950" indent="-285750" eaLnBrk="0" hangingPunct="0"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2pPr>
              <a:lvl3pPr marL="1143000" indent="-228600" eaLnBrk="0" hangingPunct="0"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3pPr>
              <a:lvl4pPr marL="1600200" indent="-228600" eaLnBrk="0" hangingPunct="0"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4pPr>
              <a:lvl5pPr marL="2057400" indent="-228600" eaLnBrk="0" hangingPunct="0"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5pPr>
              <a:lvl6pPr marL="25146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6pPr>
              <a:lvl7pPr marL="29718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7pPr>
              <a:lvl8pPr marL="34290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8pPr>
              <a:lvl9pPr marL="38862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9pPr>
            </a:lstStyle>
            <a:p>
              <a:pPr algn="ctr" eaLnBrk="1" hangingPunct="1">
                <a:spcAft>
                  <a:spcPts val="300"/>
                </a:spcAft>
              </a:pPr>
              <a:r>
                <a:rPr lang="es-ES" altLang="es-ES" sz="1200">
                  <a:solidFill>
                    <a:srgbClr val="212B6C"/>
                  </a:solidFill>
                  <a:latin typeface="+mn-lt"/>
                </a:rPr>
                <a:t>Profesionales</a:t>
              </a:r>
            </a:p>
          </p:txBody>
        </p:sp>
        <p:sp>
          <p:nvSpPr>
            <p:cNvPr id="38" name="Rectángulo redondeado 37"/>
            <p:cNvSpPr/>
            <p:nvPr/>
          </p:nvSpPr>
          <p:spPr>
            <a:xfrm>
              <a:off x="5086494" y="3357626"/>
              <a:ext cx="1856850" cy="807288"/>
            </a:xfrm>
            <a:prstGeom prst="roundRect">
              <a:avLst/>
            </a:prstGeom>
            <a:solidFill>
              <a:schemeClr val="bg1"/>
            </a:solidFill>
            <a:ln w="28575">
              <a:solidFill>
                <a:srgbClr val="212B6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/>
            </a:p>
          </p:txBody>
        </p:sp>
        <p:sp>
          <p:nvSpPr>
            <p:cNvPr id="39" name="Rectángulo 38"/>
            <p:cNvSpPr/>
            <p:nvPr/>
          </p:nvSpPr>
          <p:spPr>
            <a:xfrm>
              <a:off x="5084064" y="3468708"/>
              <a:ext cx="1133856" cy="580382"/>
            </a:xfrm>
            <a:prstGeom prst="rect">
              <a:avLst/>
            </a:prstGeom>
            <a:no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>
              <a:lvl1pPr eaLnBrk="0" hangingPunct="0"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1pPr>
              <a:lvl2pPr marL="742950" indent="-285750" eaLnBrk="0" hangingPunct="0"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2pPr>
              <a:lvl3pPr marL="1143000" indent="-228600" eaLnBrk="0" hangingPunct="0"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3pPr>
              <a:lvl4pPr marL="1600200" indent="-228600" eaLnBrk="0" hangingPunct="0"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4pPr>
              <a:lvl5pPr marL="2057400" indent="-228600" eaLnBrk="0" hangingPunct="0"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5pPr>
              <a:lvl6pPr marL="25146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6pPr>
              <a:lvl7pPr marL="29718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7pPr>
              <a:lvl8pPr marL="34290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8pPr>
              <a:lvl9pPr marL="38862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9pPr>
            </a:lstStyle>
            <a:p>
              <a:pPr algn="ctr" eaLnBrk="1" hangingPunct="1">
                <a:spcAft>
                  <a:spcPts val="300"/>
                </a:spcAft>
              </a:pPr>
              <a:r>
                <a:rPr lang="es-ES" altLang="es-ES" sz="1200">
                  <a:solidFill>
                    <a:srgbClr val="212B6C"/>
                  </a:solidFill>
                  <a:latin typeface="+mn-lt"/>
                </a:rPr>
                <a:t>Innovación</a:t>
              </a:r>
            </a:p>
          </p:txBody>
        </p:sp>
        <p:sp>
          <p:nvSpPr>
            <p:cNvPr id="40" name="Rectángulo redondeado 39"/>
            <p:cNvSpPr/>
            <p:nvPr/>
          </p:nvSpPr>
          <p:spPr>
            <a:xfrm>
              <a:off x="6198740" y="3356517"/>
              <a:ext cx="1875412" cy="816235"/>
            </a:xfrm>
            <a:prstGeom prst="roundRect">
              <a:avLst/>
            </a:prstGeom>
            <a:solidFill>
              <a:schemeClr val="bg1"/>
            </a:solidFill>
            <a:ln w="28575">
              <a:solidFill>
                <a:srgbClr val="212B6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/>
            </a:p>
          </p:txBody>
        </p:sp>
        <p:sp>
          <p:nvSpPr>
            <p:cNvPr id="41" name="Rectángulo 40"/>
            <p:cNvSpPr/>
            <p:nvPr/>
          </p:nvSpPr>
          <p:spPr>
            <a:xfrm>
              <a:off x="6217920" y="3465660"/>
              <a:ext cx="1060704" cy="580382"/>
            </a:xfrm>
            <a:prstGeom prst="rect">
              <a:avLst/>
            </a:prstGeom>
            <a:no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>
              <a:lvl1pPr eaLnBrk="0" hangingPunct="0"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1pPr>
              <a:lvl2pPr marL="742950" indent="-285750" eaLnBrk="0" hangingPunct="0"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2pPr>
              <a:lvl3pPr marL="1143000" indent="-228600" eaLnBrk="0" hangingPunct="0"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3pPr>
              <a:lvl4pPr marL="1600200" indent="-228600" eaLnBrk="0" hangingPunct="0"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4pPr>
              <a:lvl5pPr marL="2057400" indent="-228600" eaLnBrk="0" hangingPunct="0"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5pPr>
              <a:lvl6pPr marL="25146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6pPr>
              <a:lvl7pPr marL="29718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7pPr>
              <a:lvl8pPr marL="34290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8pPr>
              <a:lvl9pPr marL="38862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9pPr>
            </a:lstStyle>
            <a:p>
              <a:pPr algn="ctr" eaLnBrk="1" hangingPunct="1">
                <a:spcAft>
                  <a:spcPts val="300"/>
                </a:spcAft>
              </a:pPr>
              <a:r>
                <a:rPr lang="es-ES" altLang="es-ES" sz="1200">
                  <a:solidFill>
                    <a:srgbClr val="212B6C"/>
                  </a:solidFill>
                  <a:latin typeface="+mn-lt"/>
                </a:rPr>
                <a:t>Docencia</a:t>
              </a:r>
            </a:p>
          </p:txBody>
        </p:sp>
        <p:sp>
          <p:nvSpPr>
            <p:cNvPr id="42" name="Rectángulo redondeado 41"/>
            <p:cNvSpPr/>
            <p:nvPr/>
          </p:nvSpPr>
          <p:spPr>
            <a:xfrm>
              <a:off x="7464418" y="3356517"/>
              <a:ext cx="1670438" cy="816235"/>
            </a:xfrm>
            <a:prstGeom prst="roundRect">
              <a:avLst/>
            </a:prstGeom>
            <a:solidFill>
              <a:schemeClr val="bg1"/>
            </a:solidFill>
            <a:ln w="28575">
              <a:solidFill>
                <a:srgbClr val="212B6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/>
            </a:p>
          </p:txBody>
        </p:sp>
        <p:sp>
          <p:nvSpPr>
            <p:cNvPr id="43" name="Rectángulo 42"/>
            <p:cNvSpPr/>
            <p:nvPr/>
          </p:nvSpPr>
          <p:spPr>
            <a:xfrm>
              <a:off x="7278624" y="3465660"/>
              <a:ext cx="1856232" cy="580382"/>
            </a:xfrm>
            <a:prstGeom prst="rect">
              <a:avLst/>
            </a:prstGeom>
            <a:no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>
              <a:lvl1pPr eaLnBrk="0" hangingPunct="0"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1pPr>
              <a:lvl2pPr marL="742950" indent="-285750" eaLnBrk="0" hangingPunct="0"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2pPr>
              <a:lvl3pPr marL="1143000" indent="-228600" eaLnBrk="0" hangingPunct="0"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3pPr>
              <a:lvl4pPr marL="1600200" indent="-228600" eaLnBrk="0" hangingPunct="0"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4pPr>
              <a:lvl5pPr marL="2057400" indent="-228600" eaLnBrk="0" hangingPunct="0"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5pPr>
              <a:lvl6pPr marL="25146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6pPr>
              <a:lvl7pPr marL="29718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7pPr>
              <a:lvl8pPr marL="34290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8pPr>
              <a:lvl9pPr marL="38862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000099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9pPr>
            </a:lstStyle>
            <a:p>
              <a:pPr algn="ctr" eaLnBrk="1" hangingPunct="1">
                <a:spcAft>
                  <a:spcPts val="300"/>
                </a:spcAft>
              </a:pPr>
              <a:r>
                <a:rPr lang="es-ES" altLang="es-ES" sz="1200">
                  <a:solidFill>
                    <a:srgbClr val="212B6C"/>
                  </a:solidFill>
                  <a:latin typeface="+mn-lt"/>
                </a:rPr>
                <a:t>Sociedad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4964902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H7L._HmEkCAzTQ1x9Ry4g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k3zq9KeHUCpdD54HuA1Y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8MfNkJYwECKt6vX0xgIh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8MfNkJYwECKt6vX0xgIh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8MfNkJYwECKt6vX0xgIh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8MfNkJYwECKt6vX0xgIh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RjM5SPSkWMjdQcgZbux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c8ciXASY0.p_PgA2e52E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2NzLwXb3kiJXR46sSiJy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cdm.cwZR0WmkCNFRtitU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xZGaVZ50auZyG4Jssep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k3zq9KeHUCpdD54HuA1YA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ivHQ9gUck.OsUlC3oes_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Dbl6J6RyESURrp0Dxapd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ilzXJMwJkiBGf667AAZf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ZEsh16sD02kXkdyMHnS5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u7uFmE2jUuYTJXsLWKfd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dkGBl7dpEqFQ.kmbrseb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hwuELDMZ0i6STzipFkrW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vV9sxpaRUmjwaXk8GoXh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UIGdobvP0Sbq71DyWIm8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08ZbjAd8E21qXssGQIKh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wg8PMvp4U.4.Iadh2i0J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UrpHzLCbkyTUq0IKzjhZ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PUeALLjS0WyHhC9nRLrZ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I.SXPjxUke1YCHacDVqj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2ecxHiMJ0OO_mwGMqROg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IevhzY1fkegmtRoyIdxM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nkGsjCHK0qm5Z5rKQlLb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fCqWb9.y0apiBgBApBOrA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rUvCw1870a9cszyCoXOBA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kDHHJZQT0OW2zz_ZZDMv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oDnsGojjEm2vQumPi1E8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mvWbdCCmkaimfbKDtXZVw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MTnnmf7uEWCJ2I4sJmzyg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mSKqVdijUWSL2hNDubMNg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cXK8awg5kWUENh1XyNKZg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wSdBnjAzkq4zSP1V3Q8dQ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R0Js4pNtEmBnzBLXymmOA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Fo6Fo.FgkiV_xbp5CnuPg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x_Nhy13ukia2kT7rMbC1A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Ea48GeJREulPH..x7VaRw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HzAlmwegEmsy0hM5I8vww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PWC2c6ON0WDsgSLTIWqV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mvWbdCCmkaimfbKDtXZVw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P1RejaNBESFCSTM9HYUbg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Grw6L1ZVEShB0Vq296hog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jpzzG5nbU6DWIBSbU7iDg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Kq4VZpgKkqABvUxagPCBg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V4iTuvpmEOq9eS3MEMBNQ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Grw6L1ZVEShB0Vq296hog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Grw6L1ZVEShB0Vq296hog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.C4xdatYke4qTAw1TG7fw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Grw6L1ZVEShB0Vq296hog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.C4xdatYke4qTAw1TG7f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k3zq9KeHUCpdD54HuA1YA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.C4xdatYke4qTAw1TG7f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k3zq9KeHUCpdD54HuA1Y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k3zq9KeHUCpdD54HuA1Y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k3zq9KeHUCpdD54HuA1YA"/>
</p:tagLst>
</file>

<file path=ppt/theme/theme1.xml><?xml version="1.0" encoding="utf-8"?>
<a:theme xmlns:a="http://schemas.openxmlformats.org/drawingml/2006/main" name="Tema de Office">
  <a:themeElements>
    <a:clrScheme name="12 octubre">
      <a:dk1>
        <a:srgbClr val="212B6C"/>
      </a:dk1>
      <a:lt1>
        <a:srgbClr val="FFFFFF"/>
      </a:lt1>
      <a:dk2>
        <a:srgbClr val="B81B49"/>
      </a:dk2>
      <a:lt2>
        <a:srgbClr val="F6F6F6"/>
      </a:lt2>
      <a:accent1>
        <a:srgbClr val="212B6C"/>
      </a:accent1>
      <a:accent2>
        <a:srgbClr val="B81B49"/>
      </a:accent2>
      <a:accent3>
        <a:srgbClr val="0FA8DC"/>
      </a:accent3>
      <a:accent4>
        <a:srgbClr val="212B6C"/>
      </a:accent4>
      <a:accent5>
        <a:srgbClr val="B81B49"/>
      </a:accent5>
      <a:accent6>
        <a:srgbClr val="0FA8DC"/>
      </a:accent6>
      <a:hlink>
        <a:srgbClr val="212B6C"/>
      </a:hlink>
      <a:folHlink>
        <a:srgbClr val="B81B49"/>
      </a:folHlink>
    </a:clrScheme>
    <a:fontScheme name="Arial Black-Arial">
      <a:majorFont>
        <a:latin typeface="Arial Black" panose="020B0A04020102020204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Tema de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o" ma:contentTypeID="0x010100A5911E4211BED94D969F17F0086B5D43" ma:contentTypeVersion="18" ma:contentTypeDescription="Crear nuevo documento." ma:contentTypeScope="" ma:versionID="b09bf981b99d7b30edfbaa85ec403b17">
  <xsd:schema xmlns:xsd="http://www.w3.org/2001/XMLSchema" xmlns:xs="http://www.w3.org/2001/XMLSchema" xmlns:p="http://schemas.microsoft.com/office/2006/metadata/properties" xmlns:ns2="30c28c23-a547-4888-8fa0-c69f86a14d98" xmlns:ns3="c6bd937f-4b93-4bf5-93c9-6831162bf6f4" targetNamespace="http://schemas.microsoft.com/office/2006/metadata/properties" ma:root="true" ma:fieldsID="f29177b7277027821b672239a1365ea4" ns2:_="" ns3:_="">
    <xsd:import namespace="30c28c23-a547-4888-8fa0-c69f86a14d98"/>
    <xsd:import namespace="c6bd937f-4b93-4bf5-93c9-6831162bf6f4"/>
    <xsd:element name="properties">
      <xsd:complexType>
        <xsd:sequence>
          <xsd:element name="documentManagement">
            <xsd:complexType>
              <xsd:all>
                <xsd:element ref="ns2:Proceso" minOccurs="0"/>
                <xsd:element ref="ns2:Direcci_x00f3_n" minOccurs="0"/>
                <xsd:element ref="ns2:MediaServiceMetadata" minOccurs="0"/>
                <xsd:element ref="ns2:MediaServiceFastMetadata" minOccurs="0"/>
                <xsd:element ref="ns2:n63e542db11247e593d324cd0f583738" minOccurs="0"/>
                <xsd:element ref="ns3:TaxCatchAll" minOccurs="0"/>
                <xsd:element ref="ns3:TaxKeywordTaxHTField" minOccurs="0"/>
                <xsd:element ref="ns2:MediaServiceDateTaken" minOccurs="0"/>
                <xsd:element ref="ns2:MediaServiceAutoTags" minOccurs="0"/>
                <xsd:element ref="ns2:MediaServiceLocation" minOccurs="0"/>
                <xsd:element ref="ns2:MediaServiceGenerationTime" minOccurs="0"/>
                <xsd:element ref="ns2:MediaServiceEventHashCode" minOccurs="0"/>
                <xsd:element ref="ns2:MediaServiceOCR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0c28c23-a547-4888-8fa0-c69f86a14d98" elementFormDefault="qualified">
    <xsd:import namespace="http://schemas.microsoft.com/office/2006/documentManagement/types"/>
    <xsd:import namespace="http://schemas.microsoft.com/office/infopath/2007/PartnerControls"/>
    <xsd:element name="Proceso" ma:index="2" nillable="true" ma:displayName="Proceso" ma:format="Dropdown" ma:internalName="Proceso" ma:readOnly="false">
      <xsd:complexType>
        <xsd:complexContent>
          <xsd:extension base="dms:MultiChoice">
            <xsd:sequence>
              <xsd:element name="Value" maxOccurs="unbounded" minOccurs="0" nillable="true">
                <xsd:simpleType>
                  <xsd:restriction base="dms:Choice">
                    <xsd:enumeration value="Consultas"/>
                    <xsd:enumeration value="Hospitalización"/>
                    <xsd:enumeration value="Quirúrgico"/>
                  </xsd:restriction>
                </xsd:simpleType>
              </xsd:element>
            </xsd:sequence>
          </xsd:extension>
        </xsd:complexContent>
      </xsd:complexType>
    </xsd:element>
    <xsd:element name="Direcci_x00f3_n" ma:index="3" nillable="true" ma:displayName="Dirección" ma:format="Dropdown" ma:internalName="Direcci_x00f3_n" ma:readOnly="false">
      <xsd:complexType>
        <xsd:complexContent>
          <xsd:extension base="dms:MultiChoice">
            <xsd:sequence>
              <xsd:element name="Value" maxOccurs="unbounded" minOccurs="0" nillable="true">
                <xsd:simpleType>
                  <xsd:restriction base="dms:Choice">
                    <xsd:enumeration value="Planificación"/>
                    <xsd:enumeration value="Enfermería"/>
                    <xsd:enumeration value="Médica"/>
                    <xsd:enumeration value="Gestión"/>
                    <xsd:enumeration value="Investigación"/>
                  </xsd:restriction>
                </xsd:simpleType>
              </xsd:element>
            </xsd:sequence>
          </xsd:extension>
        </xsd:complexContent>
      </xsd:complexType>
    </xsd:element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n63e542db11247e593d324cd0f583738" ma:index="13" nillable="true" ma:taxonomy="true" ma:internalName="n63e542db11247e593d324cd0f583738" ma:taxonomyFieldName="Condici_x00f3_n_x0020_cl_x00ed_nica" ma:displayName="Condición clínica" ma:readOnly="false" ma:default="" ma:fieldId="{763e542d-b112-47e5-93d3-24cd0f583738}" ma:sspId="f6a6488a-54df-425c-be80-a6bf39aec34e" ma:termSetId="65e1a3e6-2b58-49d5-8098-75e62c53fbc0" ma:anchorId="00000000-0000-0000-0000-000000000000" ma:open="true" ma:isKeyword="false">
      <xsd:complexType>
        <xsd:sequence>
          <xsd:element ref="pc:Terms" minOccurs="0" maxOccurs="1"/>
        </xsd:sequence>
      </xsd:complexType>
    </xsd:element>
    <xsd:element name="MediaServiceDateTaken" ma:index="17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8" nillable="true" ma:displayName="Tags" ma:internalName="MediaServiceAutoTags" ma:readOnly="true">
      <xsd:simpleType>
        <xsd:restriction base="dms:Text"/>
      </xsd:simpleType>
    </xsd:element>
    <xsd:element name="MediaServiceLocation" ma:index="19" nillable="true" ma:displayName="Location" ma:internalName="MediaServiceLocation" ma:readOnly="true">
      <xsd:simpleType>
        <xsd:restriction base="dms:Text"/>
      </xsd:simpleType>
    </xsd:element>
    <xsd:element name="MediaServiceGenerationTime" ma:index="20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21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22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6bd937f-4b93-4bf5-93c9-6831162bf6f4" elementFormDefault="qualified">
    <xsd:import namespace="http://schemas.microsoft.com/office/2006/documentManagement/types"/>
    <xsd:import namespace="http://schemas.microsoft.com/office/infopath/2007/PartnerControls"/>
    <xsd:element name="TaxCatchAll" ma:index="14" nillable="true" ma:displayName="Taxonomy Catch All Column" ma:hidden="true" ma:list="{72f32650-17d8-4ed4-9b54-033af2704281}" ma:internalName="TaxCatchAll" ma:readOnly="false" ma:showField="CatchAllData" ma:web="c6bd937f-4b93-4bf5-93c9-6831162bf6f4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TaxKeywordTaxHTField" ma:index="16" nillable="true" ma:taxonomy="true" ma:internalName="TaxKeywordTaxHTField" ma:taxonomyFieldName="TaxKeyword" ma:displayName="Palabras clave de empresa" ma:readOnly="false" ma:fieldId="{23f27201-bee3-471e-b2e7-b64fd8b7ca38}" ma:taxonomyMulti="true" ma:sspId="f6a6488a-54df-425c-be80-a6bf39aec34e" ma:termSetId="00000000-0000-0000-0000-000000000000" ma:anchorId="00000000-0000-0000-0000-000000000000" ma:open="true" ma:isKeyword="true">
      <xsd:complexType>
        <xsd:sequence>
          <xsd:element ref="pc:Terms" minOccurs="0" maxOccurs="1"/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displayName="Tipo de contenido"/>
        <xsd:element ref="dc:title" minOccurs="0" maxOccurs="1" ma:index="1" ma:displayName="Título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Proceso xmlns="30c28c23-a547-4888-8fa0-c69f86a14d98"/>
    <Direcci_x00f3_n xmlns="30c28c23-a547-4888-8fa0-c69f86a14d98"/>
    <n63e542db11247e593d324cd0f583738 xmlns="30c28c23-a547-4888-8fa0-c69f86a14d98">
      <Terms xmlns="http://schemas.microsoft.com/office/infopath/2007/PartnerControls"/>
    </n63e542db11247e593d324cd0f583738>
    <TaxCatchAll xmlns="c6bd937f-4b93-4bf5-93c9-6831162bf6f4"/>
    <TaxKeywordTaxHTField xmlns="c6bd937f-4b93-4bf5-93c9-6831162bf6f4">
      <Terms xmlns="http://schemas.microsoft.com/office/infopath/2007/PartnerControls"/>
    </TaxKeywordTaxHTField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2C0B674B-DB8C-4CFE-B2D4-036479DF2C32}">
  <ds:schemaRefs>
    <ds:schemaRef ds:uri="30c28c23-a547-4888-8fa0-c69f86a14d98"/>
    <ds:schemaRef ds:uri="c6bd937f-4b93-4bf5-93c9-6831162bf6f4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A5E8075E-2060-442E-A164-FD074319C05F}">
  <ds:schemaRefs>
    <ds:schemaRef ds:uri="http://schemas.microsoft.com/office/2006/documentManagement/types"/>
    <ds:schemaRef ds:uri="30c28c23-a547-4888-8fa0-c69f86a14d98"/>
    <ds:schemaRef ds:uri="http://purl.org/dc/elements/1.1/"/>
    <ds:schemaRef ds:uri="http://schemas.microsoft.com/office/infopath/2007/PartnerControls"/>
    <ds:schemaRef ds:uri="c6bd937f-4b93-4bf5-93c9-6831162bf6f4"/>
    <ds:schemaRef ds:uri="http://www.w3.org/XML/1998/namespace"/>
    <ds:schemaRef ds:uri="http://schemas.microsoft.com/office/2006/metadata/properties"/>
    <ds:schemaRef ds:uri="http://purl.org/dc/terms/"/>
    <ds:schemaRef ds:uri="http://schemas.openxmlformats.org/package/2006/metadata/core-properties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E8999654-6BDA-425F-99FD-746A4A3C0E1E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292</TotalTime>
  <Words>1967</Words>
  <Application>Microsoft Office PowerPoint</Application>
  <PresentationFormat>A4 (210 x 297 mm)</PresentationFormat>
  <Paragraphs>351</Paragraphs>
  <Slides>24</Slides>
  <Notes>1</Notes>
  <HiddenSlides>0</HiddenSlides>
  <MMClips>0</MMClips>
  <ScaleCrop>false</ScaleCrop>
  <HeadingPairs>
    <vt:vector size="6" baseType="variant">
      <vt:variant>
        <vt:lpstr>Fuentes usadas</vt:lpstr>
      </vt:variant>
      <vt:variant>
        <vt:i4>7</vt:i4>
      </vt:variant>
      <vt:variant>
        <vt:lpstr>Tema</vt:lpstr>
      </vt:variant>
      <vt:variant>
        <vt:i4>1</vt:i4>
      </vt:variant>
      <vt:variant>
        <vt:lpstr>Títulos de diapositiva</vt:lpstr>
      </vt:variant>
      <vt:variant>
        <vt:i4>24</vt:i4>
      </vt:variant>
    </vt:vector>
  </HeadingPairs>
  <TitlesOfParts>
    <vt:vector size="32" baseType="lpstr">
      <vt:lpstr>ＭＳ Ｐゴシック</vt:lpstr>
      <vt:lpstr>Arial</vt:lpstr>
      <vt:lpstr>Arial Black</vt:lpstr>
      <vt:lpstr>Arial Narrow</vt:lpstr>
      <vt:lpstr>Arial Rounded MT Bold</vt:lpstr>
      <vt:lpstr>Calibri</vt:lpstr>
      <vt:lpstr>Nirmala UI Semilight</vt:lpstr>
      <vt:lpstr>Tema de Office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ción de PowerPoint</dc:title>
  <dc:creator>Usuario de Microsoft Office</dc:creator>
  <cp:lastModifiedBy>Martinez de Pancorbo Gonzalez.Maria del Carmen</cp:lastModifiedBy>
  <cp:revision>67</cp:revision>
  <cp:lastPrinted>2021-05-25T10:09:00Z</cp:lastPrinted>
  <dcterms:created xsi:type="dcterms:W3CDTF">2018-03-28T14:45:44Z</dcterms:created>
  <dcterms:modified xsi:type="dcterms:W3CDTF">2021-05-25T17:39:4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5911E4211BED94D969F17F0086B5D43</vt:lpwstr>
  </property>
  <property fmtid="{D5CDD505-2E9C-101B-9397-08002B2CF9AE}" pid="3" name="TaxKeyword">
    <vt:lpwstr/>
  </property>
  <property fmtid="{D5CDD505-2E9C-101B-9397-08002B2CF9AE}" pid="4" name="Condición clínica">
    <vt:lpwstr/>
  </property>
</Properties>
</file>